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671" r:id="rId4"/>
    <p:sldMasterId id="2147484729" r:id="rId5"/>
  </p:sldMasterIdLst>
  <p:notesMasterIdLst>
    <p:notesMasterId r:id="rId27"/>
  </p:notesMasterIdLst>
  <p:handoutMasterIdLst>
    <p:handoutMasterId r:id="rId28"/>
  </p:handoutMasterIdLst>
  <p:sldIdLst>
    <p:sldId id="1861" r:id="rId6"/>
    <p:sldId id="1583" r:id="rId7"/>
    <p:sldId id="1378" r:id="rId8"/>
    <p:sldId id="1523" r:id="rId9"/>
    <p:sldId id="1379" r:id="rId10"/>
    <p:sldId id="1381" r:id="rId11"/>
    <p:sldId id="1824" r:id="rId12"/>
    <p:sldId id="1118" r:id="rId13"/>
    <p:sldId id="3294" r:id="rId14"/>
    <p:sldId id="1587" r:id="rId15"/>
    <p:sldId id="268" r:id="rId16"/>
    <p:sldId id="1386" r:id="rId17"/>
    <p:sldId id="1553" r:id="rId18"/>
    <p:sldId id="3346" r:id="rId19"/>
    <p:sldId id="3347" r:id="rId20"/>
    <p:sldId id="3350" r:id="rId21"/>
    <p:sldId id="3375" r:id="rId22"/>
    <p:sldId id="1614" r:id="rId23"/>
    <p:sldId id="1613" r:id="rId24"/>
    <p:sldId id="1612" r:id="rId25"/>
    <p:sldId id="1840" r:id="rId26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KMUG Template" id="{888AB95E-1B7E-4E95-8F39-C5D0E8372BC2}">
          <p14:sldIdLst>
            <p14:sldId id="1861"/>
            <p14:sldId id="1583"/>
            <p14:sldId id="1378"/>
            <p14:sldId id="1523"/>
            <p14:sldId id="1379"/>
            <p14:sldId id="1381"/>
            <p14:sldId id="1824"/>
            <p14:sldId id="1118"/>
            <p14:sldId id="3294"/>
            <p14:sldId id="1587"/>
            <p14:sldId id="268"/>
            <p14:sldId id="1386"/>
            <p14:sldId id="1553"/>
            <p14:sldId id="3346"/>
            <p14:sldId id="3347"/>
            <p14:sldId id="3350"/>
            <p14:sldId id="3375"/>
            <p14:sldId id="1614"/>
            <p14:sldId id="1613"/>
            <p14:sldId id="1612"/>
            <p14:sldId id="18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83B01"/>
    <a:srgbClr val="F14001"/>
    <a:srgbClr val="1A1919"/>
    <a:srgbClr val="737373"/>
    <a:srgbClr val="BDBDBD"/>
    <a:srgbClr val="D2D2D2"/>
    <a:srgbClr val="E6E6E6"/>
    <a:srgbClr val="FFB900"/>
    <a:srgbClr val="3030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45" autoAdjust="0"/>
    <p:restoredTop sz="97271" autoAdjust="0"/>
  </p:normalViewPr>
  <p:slideViewPr>
    <p:cSldViewPr snapToGrid="0">
      <p:cViewPr varScale="1">
        <p:scale>
          <a:sx n="114" d="100"/>
          <a:sy n="114" d="100"/>
        </p:scale>
        <p:origin x="534" y="18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12/10/2018 12:00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12/10/2018 11:59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10/2018 11:5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0085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CD5F8F-46C9-46A5-9E1B-00B0A72B40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8428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601B9-5273-467A-8E48-EC9939578C8F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82879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520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99917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3109913" cy="1749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1000" y="8790702"/>
            <a:ext cx="3429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Science Blog - https://buckwoody.wordpress.com/</a:t>
            </a:r>
          </a:p>
        </p:txBody>
      </p:sp>
    </p:spTree>
    <p:extLst>
      <p:ext uri="{BB962C8B-B14F-4D97-AF65-F5344CB8AC3E}">
        <p14:creationId xmlns:p14="http://schemas.microsoft.com/office/powerpoint/2010/main" val="18136749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88892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0079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2353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38735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3109913" cy="1749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1000" y="8790702"/>
            <a:ext cx="3429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Science Blog - https://buckwoody.wordpress.com/</a:t>
            </a:r>
          </a:p>
        </p:txBody>
      </p:sp>
    </p:spTree>
    <p:extLst>
      <p:ext uri="{BB962C8B-B14F-4D97-AF65-F5344CB8AC3E}">
        <p14:creationId xmlns:p14="http://schemas.microsoft.com/office/powerpoint/2010/main" val="12911147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18"/>
              </a:spcAft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520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288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0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29658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2415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0907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1:59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41994292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0485" indent="-350485">
              <a:lnSpc>
                <a:spcPct val="107000"/>
              </a:lnSpc>
              <a:buFont typeface="Symbol" panose="05050102010706020507" pitchFamily="18" charset="2"/>
              <a:buChar char=""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520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266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2415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73199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520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76326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520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37154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60178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0/2018 12:02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43812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8805A0-45E3-4CC0-A515-BB2E864CD0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969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-i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995C7E-640B-42A4-AB19-52186A201151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459886-0D20-442C-A485-66B9D8DCEA4F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57C8FD5-1D5C-4F01-AB86-F237B485A354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3" name="Picture 2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7F1AF906-7D17-4082-9AB7-86EB289575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5" name="Picture 4" descr="A close up of a sign&#10;&#10;Description automatically generated">
              <a:extLst>
                <a:ext uri="{FF2B5EF4-FFF2-40B4-BE49-F238E27FC236}">
                  <a16:creationId xmlns:a16="http://schemas.microsoft.com/office/drawing/2014/main" id="{FDFA97A9-459E-4629-92A3-4293210784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7CF36C2-A997-4EB7-9489-030430482A5E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E15158F-0695-4368-A7F6-A46F5CA429B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20039" y="1398931"/>
            <a:ext cx="9586952" cy="4965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Square Ph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2DD6E7C-E358-4DFA-95AE-21AE08D233AB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4D03893-6C22-469A-9490-5C6F8A00BC13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Photo body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735ED7D-1E3A-4AD8-98F2-E31E5216B809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77D92AF-EAB1-4703-8412-92B9BA946391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617891E-7318-4F94-A367-7482B4F95B63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8F59F54-D5D4-4454-B519-6954FCC6AEC4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17573A-792A-4045-B9A6-BDA4EB69B70C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D1BF8DB-BAE8-4E67-8A33-7CA14B9F1F92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95B7A4-1653-42D5-9E28-030187C1126E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8A4CB2D-7D57-4C85-B696-8F4BCF76CC7D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8F5B5EF-00AD-4580-BAE7-B21084E069D9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A964AB2-9E68-423C-821C-B5C53A065A5E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985595-7201-4CF5-A586-1FD1BBDDA2AB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5B000B0-CF52-4C0A-BEB5-B798FAD82D58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16D21A8-62E4-4BA7-B55A-E0145DF5C672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bg bwMode="black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-i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0C272-8E66-429C-A9F7-1C4E612DB65F}"/>
              </a:ext>
            </a:extLst>
          </p:cNvPr>
          <p:cNvCxnSpPr>
            <a:cxnSpLocks/>
          </p:cNvCxnSpPr>
          <p:nvPr userDrawn="1"/>
        </p:nvCxnSpPr>
        <p:spPr>
          <a:xfrm>
            <a:off x="11895763" y="1817370"/>
            <a:ext cx="0" cy="710565"/>
          </a:xfrm>
          <a:prstGeom prst="line">
            <a:avLst/>
          </a:prstGeom>
          <a:ln>
            <a:solidFill>
              <a:srgbClr val="D83B0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82E0A46-B6B4-4948-85A7-A454750AE07B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6" name="Picture 5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A192639B-5949-4F80-9C68-F886724822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8" name="Picture 7" descr="A close up of a sign&#10;&#10;Description automatically generated">
              <a:extLst>
                <a:ext uri="{FF2B5EF4-FFF2-40B4-BE49-F238E27FC236}">
                  <a16:creationId xmlns:a16="http://schemas.microsoft.com/office/drawing/2014/main" id="{7B025952-3D39-4677-B653-355DAF14C5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0CEDEB6-E1CA-4E77-8F7B-30327276792B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A80F01C3-6A50-4A86-B007-58F22E4BA0EA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B3A07F-8CB0-4E47-AD1D-DC9ED8BB52AA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3127578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C18897-D3F6-4D4B-B9C1-5D2B4D5C3EC5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10" name="Picture 9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42E3D751-9437-4334-94C4-ECF57C0BC4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11" name="Picture 10" descr="A close up of a sign&#10;&#10;Description automatically generated">
              <a:extLst>
                <a:ext uri="{FF2B5EF4-FFF2-40B4-BE49-F238E27FC236}">
                  <a16:creationId xmlns:a16="http://schemas.microsoft.com/office/drawing/2014/main" id="{26F0FFCF-D407-430D-9355-EEEA2CAD84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0148789-2A4B-4CD3-84FB-E5B6D89B5925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AC3B564-A5B5-42C3-926F-35FEF1D78421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A165DDE-0E34-4D31-9C6F-4BA03EF9BF0C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1A4DCA5-29F8-41BD-B942-241362E23051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A58F407-9CB0-431C-A813-6F1900AB20D5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3AD94A-A228-46F8-845C-EF5D3EC75CC0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11" name="Picture 10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356C35CD-D0EF-4833-8FAC-D9BF39A5F1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12" name="Picture 11" descr="A close up of a sign&#10;&#10;Description automatically generated">
              <a:extLst>
                <a:ext uri="{FF2B5EF4-FFF2-40B4-BE49-F238E27FC236}">
                  <a16:creationId xmlns:a16="http://schemas.microsoft.com/office/drawing/2014/main" id="{AE07D78C-6E7B-4AA3-A170-1A2DB0B23C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0134B45-20D2-4B0C-AE53-C1F19E1FFA80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A8223757-EC9A-4D5B-BCBB-1EF37484DF92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6F4A92-9091-4CEE-8F35-CC9790D10FDE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93586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AE4BF7-FD20-4D25-A822-0D54DE157D7C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F5BFB8-20B5-4A67-82A2-DCACDE6A268F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6741109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40131F-544E-4693-8258-D82AFC7ED3FF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93DE27-C83E-4782-9916-EBD1F67D5ABB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7960876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6DC0C7-3C52-4642-8234-3E78CA6C7419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FD71891-CBF4-48DA-910C-DB814B221C88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350824659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AFB25C-2247-45C8-BEBA-D300BF19DDA4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3246A0-D7F8-4692-AD45-167EF7ED24A2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345742820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5437ED5-B3A6-468C-8872-08D3A8DFFA99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D82B7B-FF6E-414D-8082-49802DCBECD3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328431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 gri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627ADC-0BA9-442D-94ED-656EBF32B984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363FE1-B280-4403-9135-D6E6066C8F95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359854287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title - half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9D38EA-72B0-40E9-90B7-6F010B233F02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2DB281B-8416-49CA-8DF0-1881F7EFB395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108748801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Square Ph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3C02C7-BE5A-49B0-B0C1-F0CD23B282B4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2326C0-B8AB-4663-A25B-B9C9B2B7A1E0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8383808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Photo body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93B1C5-B700-4C22-899D-B4F64621ED11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65E58D-2B97-46D8-95D2-E901C5811D40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5246752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381F392-FABB-4619-A4DD-AE7B4B0EC32A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BC40BBE-EB3D-4D51-8AC1-9B45761AC59A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399D378-F650-4BE1-AED0-03DEFD6707BE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F32818B-7FE7-44C8-B727-2082AB20A03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E3B07E-9D1E-4DC1-B0EC-17A7A43E3017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20F591-5575-4EDE-9D15-CCC126DF5472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599993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93E634-5F79-4A6C-8132-A7EEB395C2B4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D003E6-D5F5-45BC-BD55-AE615B3F18BD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738167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22DB29-FA23-464C-8AE2-DC68DE306F62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A617873-142A-4C7D-9C4F-D31858F8B88D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3087721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D41D2FA-9FA2-4C9D-8FE4-EBD22E7157C1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8A8EF2-F4DF-4992-AEE1-5FF558F1D3C9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11999545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960533-0628-418B-8CA9-2DF92F111CD5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2D593E8-E0FC-49B3-B4A6-70C11D364DFC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8253822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790E943-4078-4A5F-B63D-0FA19B169731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149400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bg bwMode="black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001662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63945"/>
            <a:ext cx="9144000" cy="1846018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896778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57199"/>
            <a:ext cx="11018520" cy="752104"/>
          </a:xfrm>
        </p:spPr>
        <p:txBody>
          <a:bodyPr/>
          <a:lstStyle>
            <a:lvl1pPr>
              <a:defRPr sz="4800"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181760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_Acc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21297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122309B-B42D-4D74-9486-7350909B2382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E78FAEE-568B-45F9-B661-B610DA271284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7C10B7C-A6DF-472F-B2E7-F8559F93C2B0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66DA5DF-9BFB-4327-ACDD-AA572BA7606A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072C9D3-619B-4A31-877A-A1E55B9D89CC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5EE2031-4A61-4071-8A6F-C14BB1B0E14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352B0B3-5F6D-4CAA-B7FA-EEA670808C54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4699052-1192-4F0A-BF5A-A62D948636FE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2E8AA6-E185-4830-BED3-AE8D6EF29263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228E42-8076-4477-863F-D4367E30164F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D89A0E-7175-46DF-96FE-50F24A988AB3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5F374F1-FE3B-4F0D-B54E-1B828BB7C49F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 gri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38D9BD-FA78-4030-B234-D4D47088F034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B989CF9-CE47-49A7-AF45-AA06C343CF66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title - half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77916C-2053-459F-80CA-6D294C47AF2E}"/>
              </a:ext>
            </a:extLst>
          </p:cNvPr>
          <p:cNvSpPr txBox="1"/>
          <p:nvPr userDrawn="1"/>
        </p:nvSpPr>
        <p:spPr>
          <a:xfrm>
            <a:off x="584200" y="6536837"/>
            <a:ext cx="319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www.bootcamp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lk</a:t>
            </a:r>
            <a:r>
              <a:rPr lang="en-IN" b="1" dirty="0">
                <a:latin typeface="Rockwell Condensed" panose="02060603050405020104" pitchFamily="18" charset="0"/>
              </a:rPr>
              <a:t>.co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52C1052-73DD-4951-86DF-E9312EA14284}"/>
              </a:ext>
            </a:extLst>
          </p:cNvPr>
          <p:cNvSpPr/>
          <p:nvPr userDrawn="1"/>
        </p:nvSpPr>
        <p:spPr>
          <a:xfrm>
            <a:off x="9476100" y="6510544"/>
            <a:ext cx="20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latin typeface="Rockwell Condensed" panose="02060603050405020104" pitchFamily="18" charset="0"/>
              </a:rPr>
              <a:t>#Global</a:t>
            </a:r>
            <a:r>
              <a:rPr lang="en-IN" b="1" dirty="0">
                <a:solidFill>
                  <a:srgbClr val="FF320E"/>
                </a:solidFill>
                <a:latin typeface="Rockwell Condensed" panose="02060603050405020104" pitchFamily="18" charset="0"/>
              </a:rPr>
              <a:t>AI</a:t>
            </a:r>
            <a:r>
              <a:rPr lang="en-IN" b="1" dirty="0">
                <a:latin typeface="Rockwell Condensed" panose="02060603050405020104" pitchFamily="18" charset="0"/>
              </a:rPr>
              <a:t>Bootcamp</a:t>
            </a:r>
          </a:p>
        </p:txBody>
      </p: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927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0" r:id="rId1"/>
    <p:sldLayoutId id="2147484731" r:id="rId2"/>
    <p:sldLayoutId id="2147484732" r:id="rId3"/>
    <p:sldLayoutId id="2147484733" r:id="rId4"/>
    <p:sldLayoutId id="2147484734" r:id="rId5"/>
    <p:sldLayoutId id="2147484735" r:id="rId6"/>
    <p:sldLayoutId id="2147484736" r:id="rId7"/>
    <p:sldLayoutId id="2147484737" r:id="rId8"/>
    <p:sldLayoutId id="2147484738" r:id="rId9"/>
    <p:sldLayoutId id="2147484739" r:id="rId10"/>
    <p:sldLayoutId id="2147484740" r:id="rId11"/>
    <p:sldLayoutId id="2147484741" r:id="rId12"/>
    <p:sldLayoutId id="2147484742" r:id="rId13"/>
    <p:sldLayoutId id="2147484743" r:id="rId14"/>
    <p:sldLayoutId id="2147484744" r:id="rId15"/>
    <p:sldLayoutId id="2147484745" r:id="rId16"/>
    <p:sldLayoutId id="2147484746" r:id="rId17"/>
    <p:sldLayoutId id="2147484747" r:id="rId18"/>
    <p:sldLayoutId id="2147484748" r:id="rId19"/>
    <p:sldLayoutId id="2147484749" r:id="rId20"/>
    <p:sldLayoutId id="2147484750" r:id="rId2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4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microsoft.com/office/2007/relationships/hdphoto" Target="../media/hdphoto5.wdp"/><Relationship Id="rId3" Type="http://schemas.openxmlformats.org/officeDocument/2006/relationships/image" Target="../media/image33.png"/><Relationship Id="rId7" Type="http://schemas.microsoft.com/office/2007/relationships/hdphoto" Target="../media/hdphoto2.wdp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5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37.png"/><Relationship Id="rId4" Type="http://schemas.openxmlformats.org/officeDocument/2006/relationships/image" Target="../media/image34.png"/><Relationship Id="rId9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9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Relationship Id="rId6" Type="http://schemas.microsoft.com/office/2007/relationships/hdphoto" Target="../media/hdphoto2.wdp"/><Relationship Id="rId5" Type="http://schemas.openxmlformats.org/officeDocument/2006/relationships/image" Target="../media/image35.png"/><Relationship Id="rId10" Type="http://schemas.openxmlformats.org/officeDocument/2006/relationships/image" Target="../media/image44.png"/><Relationship Id="rId4" Type="http://schemas.openxmlformats.org/officeDocument/2006/relationships/image" Target="../media/image40.png"/><Relationship Id="rId9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2.jpe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CBB8B40-F3D1-4331-B430-E127860A6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2425541"/>
            <a:ext cx="5943600" cy="1107996"/>
          </a:xfrm>
        </p:spPr>
        <p:txBody>
          <a:bodyPr/>
          <a:lstStyle/>
          <a:p>
            <a:r>
              <a:rPr lang="en-US" dirty="0"/>
              <a:t>Introduction to </a:t>
            </a:r>
            <a:br>
              <a:rPr lang="en-US" dirty="0"/>
            </a:br>
            <a:r>
              <a:rPr lang="en-US" dirty="0"/>
              <a:t>Azure AI Technologies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233F29-D5A5-4DF5-AA87-020831D2ED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EB23AE-FC6C-FF43-AF42-8E0887C43C7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00073" y="5965166"/>
            <a:ext cx="484632" cy="4846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0AF52F9-E419-0247-B75E-44FF359C201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034707" y="5965028"/>
            <a:ext cx="484909" cy="484909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7713E6B-298F-2447-930D-E39C9923B7C9}"/>
              </a:ext>
            </a:extLst>
          </p:cNvPr>
          <p:cNvSpPr txBox="1">
            <a:spLocks/>
          </p:cNvSpPr>
          <p:nvPr/>
        </p:nvSpPr>
        <p:spPr>
          <a:xfrm>
            <a:off x="2610742" y="5961261"/>
            <a:ext cx="3600053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@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3F6C500-D3C0-2E40-B483-6C5079AD462D}"/>
              </a:ext>
            </a:extLst>
          </p:cNvPr>
          <p:cNvSpPr txBox="1">
            <a:spLocks/>
          </p:cNvSpPr>
          <p:nvPr/>
        </p:nvSpPr>
        <p:spPr>
          <a:xfrm>
            <a:off x="6873983" y="5961261"/>
            <a:ext cx="4027565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/in/</a:t>
            </a:r>
          </a:p>
        </p:txBody>
      </p:sp>
    </p:spTree>
    <p:extLst>
      <p:ext uri="{BB962C8B-B14F-4D97-AF65-F5344CB8AC3E}">
        <p14:creationId xmlns:p14="http://schemas.microsoft.com/office/powerpoint/2010/main" val="1869999325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1" y="289957"/>
            <a:ext cx="11787698" cy="724143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705" b="0" dirty="0">
                <a:solidFill>
                  <a:schemeClr val="tx1"/>
                </a:solidFill>
                <a:latin typeface="+mn-lt"/>
              </a:rPr>
              <a:t>Bot Framework - Engage with your us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4294967295"/>
          </p:nvPr>
        </p:nvSpPr>
        <p:spPr>
          <a:xfrm>
            <a:off x="431095" y="1256662"/>
            <a:ext cx="11760906" cy="362087"/>
          </a:xfrm>
        </p:spPr>
        <p:txBody>
          <a:bodyPr/>
          <a:lstStyle/>
          <a:p>
            <a:pPr marL="0" indent="0">
              <a:buNone/>
            </a:pPr>
            <a:r>
              <a:rPr lang="en-US" sz="2353" dirty="0">
                <a:solidFill>
                  <a:schemeClr val="tx1"/>
                </a:solidFill>
              </a:rPr>
              <a:t>A </a:t>
            </a:r>
            <a:r>
              <a:rPr lang="en-US" sz="2353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natural language interface across all conversation channels  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797158" y="3064153"/>
            <a:ext cx="2954397" cy="2171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054" fontAlgn="base">
              <a:lnSpc>
                <a:spcPct val="90000"/>
              </a:lnSpc>
              <a:spcBef>
                <a:spcPts val="295"/>
              </a:spcBef>
              <a:spcAft>
                <a:spcPct val="0"/>
              </a:spcAft>
              <a:defRPr/>
            </a:pPr>
            <a:r>
              <a:rPr lang="en-US" sz="1567" b="1" kern="0">
                <a:solidFill>
                  <a:srgbClr val="1A1A1A"/>
                </a:solidFill>
                <a:latin typeface="Segoe UI"/>
                <a:ea typeface="Segoe UI" pitchFamily="34" charset="0"/>
                <a:cs typeface="Segoe UI Semibold" panose="020B0702040204020203" pitchFamily="34" charset="0"/>
              </a:rPr>
              <a:t>Provide information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797158" y="3879980"/>
            <a:ext cx="2954397" cy="2171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054" fontAlgn="base">
              <a:lnSpc>
                <a:spcPct val="90000"/>
              </a:lnSpc>
              <a:spcBef>
                <a:spcPts val="295"/>
              </a:spcBef>
              <a:spcAft>
                <a:spcPct val="0"/>
              </a:spcAft>
              <a:defRPr/>
            </a:pPr>
            <a:r>
              <a:rPr lang="en-US" sz="1567" b="1" kern="0">
                <a:solidFill>
                  <a:srgbClr val="1A1A1A"/>
                </a:solidFill>
                <a:latin typeface="Segoe UI"/>
                <a:ea typeface="Segoe UI" pitchFamily="34" charset="0"/>
                <a:cs typeface="Segoe UI Semibold" panose="020B0702040204020203" pitchFamily="34" charset="0"/>
              </a:rPr>
              <a:t>Perform task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797158" y="4695807"/>
            <a:ext cx="2954397" cy="2171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054" fontAlgn="base">
              <a:lnSpc>
                <a:spcPct val="90000"/>
              </a:lnSpc>
              <a:spcBef>
                <a:spcPts val="295"/>
              </a:spcBef>
              <a:spcAft>
                <a:spcPct val="0"/>
              </a:spcAft>
              <a:defRPr/>
            </a:pPr>
            <a:r>
              <a:rPr lang="en-US" sz="1567" b="1" kern="0">
                <a:solidFill>
                  <a:srgbClr val="1A1A1A"/>
                </a:solidFill>
                <a:latin typeface="Segoe UI"/>
                <a:ea typeface="Segoe UI" pitchFamily="34" charset="0"/>
                <a:cs typeface="Segoe UI Semibold" panose="020B0702040204020203" pitchFamily="34" charset="0"/>
              </a:rPr>
              <a:t>Make recommendations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1797158" y="5511634"/>
            <a:ext cx="2954397" cy="2171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054" fontAlgn="base">
              <a:lnSpc>
                <a:spcPct val="90000"/>
              </a:lnSpc>
              <a:spcBef>
                <a:spcPts val="295"/>
              </a:spcBef>
              <a:spcAft>
                <a:spcPct val="0"/>
              </a:spcAft>
              <a:defRPr/>
            </a:pPr>
            <a:r>
              <a:rPr lang="en-US" sz="1567" b="1" kern="0">
                <a:solidFill>
                  <a:srgbClr val="1A1A1A"/>
                </a:solidFill>
                <a:latin typeface="Segoe UI"/>
                <a:ea typeface="Segoe UI" pitchFamily="34" charset="0"/>
                <a:cs typeface="Segoe UI Semibold" panose="020B0702040204020203" pitchFamily="34" charset="0"/>
              </a:rPr>
              <a:t>Capture information 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772477" y="2919326"/>
            <a:ext cx="466964" cy="479936"/>
            <a:chOff x="3238466" y="2692673"/>
            <a:chExt cx="3472213" cy="3568675"/>
          </a:xfrm>
          <a:solidFill>
            <a:schemeClr val="accent3"/>
          </a:solidFill>
        </p:grpSpPr>
        <p:sp>
          <p:nvSpPr>
            <p:cNvPr id="31" name="Freeform 391"/>
            <p:cNvSpPr>
              <a:spLocks noEditPoints="1"/>
            </p:cNvSpPr>
            <p:nvPr/>
          </p:nvSpPr>
          <p:spPr bwMode="auto">
            <a:xfrm>
              <a:off x="3238466" y="2692673"/>
              <a:ext cx="3472213" cy="3568675"/>
            </a:xfrm>
            <a:custGeom>
              <a:avLst/>
              <a:gdLst>
                <a:gd name="T0" fmla="*/ 84 w 131"/>
                <a:gd name="T1" fmla="*/ 0 h 134"/>
                <a:gd name="T2" fmla="*/ 131 w 131"/>
                <a:gd name="T3" fmla="*/ 48 h 134"/>
                <a:gd name="T4" fmla="*/ 84 w 131"/>
                <a:gd name="T5" fmla="*/ 96 h 134"/>
                <a:gd name="T6" fmla="*/ 57 w 131"/>
                <a:gd name="T7" fmla="*/ 87 h 134"/>
                <a:gd name="T8" fmla="*/ 53 w 131"/>
                <a:gd name="T9" fmla="*/ 90 h 134"/>
                <a:gd name="T10" fmla="*/ 55 w 131"/>
                <a:gd name="T11" fmla="*/ 97 h 134"/>
                <a:gd name="T12" fmla="*/ 21 w 131"/>
                <a:gd name="T13" fmla="*/ 130 h 134"/>
                <a:gd name="T14" fmla="*/ 3 w 131"/>
                <a:gd name="T15" fmla="*/ 112 h 134"/>
                <a:gd name="T16" fmla="*/ 37 w 131"/>
                <a:gd name="T17" fmla="*/ 78 h 134"/>
                <a:gd name="T18" fmla="*/ 43 w 131"/>
                <a:gd name="T19" fmla="*/ 79 h 134"/>
                <a:gd name="T20" fmla="*/ 45 w 131"/>
                <a:gd name="T21" fmla="*/ 76 h 134"/>
                <a:gd name="T22" fmla="*/ 36 w 131"/>
                <a:gd name="T23" fmla="*/ 48 h 134"/>
                <a:gd name="T24" fmla="*/ 84 w 131"/>
                <a:gd name="T25" fmla="*/ 0 h 134"/>
                <a:gd name="T26" fmla="*/ 84 w 131"/>
                <a:gd name="T27" fmla="*/ 8 h 134"/>
                <a:gd name="T28" fmla="*/ 44 w 131"/>
                <a:gd name="T29" fmla="*/ 48 h 134"/>
                <a:gd name="T30" fmla="*/ 84 w 131"/>
                <a:gd name="T31" fmla="*/ 87 h 134"/>
                <a:gd name="T32" fmla="*/ 123 w 131"/>
                <a:gd name="T33" fmla="*/ 48 h 134"/>
                <a:gd name="T34" fmla="*/ 84 w 131"/>
                <a:gd name="T35" fmla="*/ 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1" h="134">
                  <a:moveTo>
                    <a:pt x="84" y="0"/>
                  </a:moveTo>
                  <a:cubicBezTo>
                    <a:pt x="110" y="0"/>
                    <a:pt x="131" y="21"/>
                    <a:pt x="131" y="48"/>
                  </a:cubicBezTo>
                  <a:cubicBezTo>
                    <a:pt x="131" y="74"/>
                    <a:pt x="110" y="96"/>
                    <a:pt x="84" y="96"/>
                  </a:cubicBezTo>
                  <a:cubicBezTo>
                    <a:pt x="74" y="96"/>
                    <a:pt x="64" y="92"/>
                    <a:pt x="57" y="87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34"/>
                    <a:pt x="2" y="118"/>
                    <a:pt x="3" y="112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39" y="69"/>
                    <a:pt x="36" y="59"/>
                    <a:pt x="36" y="48"/>
                  </a:cubicBezTo>
                  <a:cubicBezTo>
                    <a:pt x="36" y="21"/>
                    <a:pt x="57" y="0"/>
                    <a:pt x="84" y="0"/>
                  </a:cubicBezTo>
                  <a:moveTo>
                    <a:pt x="84" y="8"/>
                  </a:moveTo>
                  <a:cubicBezTo>
                    <a:pt x="62" y="8"/>
                    <a:pt x="44" y="26"/>
                    <a:pt x="44" y="48"/>
                  </a:cubicBezTo>
                  <a:cubicBezTo>
                    <a:pt x="44" y="70"/>
                    <a:pt x="62" y="87"/>
                    <a:pt x="84" y="87"/>
                  </a:cubicBezTo>
                  <a:cubicBezTo>
                    <a:pt x="105" y="87"/>
                    <a:pt x="123" y="70"/>
                    <a:pt x="123" y="48"/>
                  </a:cubicBezTo>
                  <a:cubicBezTo>
                    <a:pt x="123" y="26"/>
                    <a:pt x="105" y="8"/>
                    <a:pt x="84" y="8"/>
                  </a:cubicBezTo>
                </a:path>
              </a:pathLst>
            </a:custGeom>
            <a:grpFill/>
            <a:ln>
              <a:solidFill>
                <a:schemeClr val="accent3"/>
              </a:solidFill>
            </a:ln>
          </p:spPr>
          <p:txBody>
            <a:bodyPr vert="horz" wrap="square" lIns="91389" tIns="45695" rIns="91389" bIns="45695" numCol="1" anchor="t" anchorCtr="0" compatLnSpc="1">
              <a:prstTxWarp prst="textNoShape">
                <a:avLst/>
              </a:prstTxWarp>
            </a:bodyPr>
            <a:lstStyle/>
            <a:p>
              <a:pPr defTabSz="913891">
                <a:defRPr/>
              </a:pPr>
              <a:endParaRPr lang="en-US" sz="900" kern="0">
                <a:solidFill>
                  <a:srgbClr val="1A1A1A"/>
                </a:solidFill>
                <a:latin typeface="Segoe UI"/>
              </a:endParaRP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4996493" y="3249758"/>
              <a:ext cx="777773" cy="1472526"/>
              <a:chOff x="4162020" y="-372394"/>
              <a:chExt cx="3570818" cy="6760483"/>
            </a:xfrm>
            <a:grpFill/>
          </p:grpSpPr>
          <p:sp>
            <p:nvSpPr>
              <p:cNvPr id="33" name="Freeform: Shape 32"/>
              <p:cNvSpPr/>
              <p:nvPr/>
            </p:nvSpPr>
            <p:spPr bwMode="auto">
              <a:xfrm>
                <a:off x="4162020" y="1496716"/>
                <a:ext cx="3188455" cy="4891373"/>
              </a:xfrm>
              <a:custGeom>
                <a:avLst/>
                <a:gdLst>
                  <a:gd name="connsiteX0" fmla="*/ 0 w 3124200"/>
                  <a:gd name="connsiteY0" fmla="*/ 1333500 h 4908550"/>
                  <a:gd name="connsiteX1" fmla="*/ 1371600 w 3124200"/>
                  <a:gd name="connsiteY1" fmla="*/ 177800 h 4908550"/>
                  <a:gd name="connsiteX2" fmla="*/ 2292350 w 3124200"/>
                  <a:gd name="connsiteY2" fmla="*/ 0 h 4908550"/>
                  <a:gd name="connsiteX3" fmla="*/ 2933700 w 3124200"/>
                  <a:gd name="connsiteY3" fmla="*/ 895350 h 4908550"/>
                  <a:gd name="connsiteX4" fmla="*/ 1854200 w 3124200"/>
                  <a:gd name="connsiteY4" fmla="*/ 3727450 h 4908550"/>
                  <a:gd name="connsiteX5" fmla="*/ 2095500 w 3124200"/>
                  <a:gd name="connsiteY5" fmla="*/ 4000500 h 4908550"/>
                  <a:gd name="connsiteX6" fmla="*/ 2959100 w 3124200"/>
                  <a:gd name="connsiteY6" fmla="*/ 3181350 h 4908550"/>
                  <a:gd name="connsiteX7" fmla="*/ 3124200 w 3124200"/>
                  <a:gd name="connsiteY7" fmla="*/ 3467100 h 4908550"/>
                  <a:gd name="connsiteX8" fmla="*/ 711200 w 3124200"/>
                  <a:gd name="connsiteY8" fmla="*/ 4908550 h 4908550"/>
                  <a:gd name="connsiteX9" fmla="*/ 209550 w 3124200"/>
                  <a:gd name="connsiteY9" fmla="*/ 3822700 h 4908550"/>
                  <a:gd name="connsiteX10" fmla="*/ 1352550 w 3124200"/>
                  <a:gd name="connsiteY10" fmla="*/ 977900 h 4908550"/>
                  <a:gd name="connsiteX11" fmla="*/ 939800 w 3124200"/>
                  <a:gd name="connsiteY11" fmla="*/ 787400 h 4908550"/>
                  <a:gd name="connsiteX12" fmla="*/ 215900 w 3124200"/>
                  <a:gd name="connsiteY12" fmla="*/ 1524000 h 4908550"/>
                  <a:gd name="connsiteX13" fmla="*/ 44450 w 3124200"/>
                  <a:gd name="connsiteY13" fmla="*/ 1371600 h 4908550"/>
                  <a:gd name="connsiteX14" fmla="*/ 0 w 3124200"/>
                  <a:gd name="connsiteY14" fmla="*/ 1333500 h 4908550"/>
                  <a:gd name="connsiteX0" fmla="*/ 0 w 3124200"/>
                  <a:gd name="connsiteY0" fmla="*/ 1333500 h 4908550"/>
                  <a:gd name="connsiteX1" fmla="*/ 1371600 w 3124200"/>
                  <a:gd name="connsiteY1" fmla="*/ 177800 h 4908550"/>
                  <a:gd name="connsiteX2" fmla="*/ 2292350 w 3124200"/>
                  <a:gd name="connsiteY2" fmla="*/ 0 h 4908550"/>
                  <a:gd name="connsiteX3" fmla="*/ 2933700 w 3124200"/>
                  <a:gd name="connsiteY3" fmla="*/ 895350 h 4908550"/>
                  <a:gd name="connsiteX4" fmla="*/ 1854200 w 3124200"/>
                  <a:gd name="connsiteY4" fmla="*/ 3727450 h 4908550"/>
                  <a:gd name="connsiteX5" fmla="*/ 2095500 w 3124200"/>
                  <a:gd name="connsiteY5" fmla="*/ 4000500 h 4908550"/>
                  <a:gd name="connsiteX6" fmla="*/ 2959100 w 3124200"/>
                  <a:gd name="connsiteY6" fmla="*/ 3181350 h 4908550"/>
                  <a:gd name="connsiteX7" fmla="*/ 3124200 w 3124200"/>
                  <a:gd name="connsiteY7" fmla="*/ 3467100 h 4908550"/>
                  <a:gd name="connsiteX8" fmla="*/ 711200 w 3124200"/>
                  <a:gd name="connsiteY8" fmla="*/ 4908550 h 4908550"/>
                  <a:gd name="connsiteX9" fmla="*/ 209550 w 3124200"/>
                  <a:gd name="connsiteY9" fmla="*/ 3822700 h 4908550"/>
                  <a:gd name="connsiteX10" fmla="*/ 1352550 w 3124200"/>
                  <a:gd name="connsiteY10" fmla="*/ 977900 h 4908550"/>
                  <a:gd name="connsiteX11" fmla="*/ 939800 w 3124200"/>
                  <a:gd name="connsiteY11" fmla="*/ 787400 h 4908550"/>
                  <a:gd name="connsiteX12" fmla="*/ 215900 w 3124200"/>
                  <a:gd name="connsiteY12" fmla="*/ 1524000 h 4908550"/>
                  <a:gd name="connsiteX13" fmla="*/ 0 w 3124200"/>
                  <a:gd name="connsiteY13" fmla="*/ 1333500 h 4908550"/>
                  <a:gd name="connsiteX0" fmla="*/ 0 w 3124200"/>
                  <a:gd name="connsiteY0" fmla="*/ 1343025 h 4908550"/>
                  <a:gd name="connsiteX1" fmla="*/ 1371600 w 3124200"/>
                  <a:gd name="connsiteY1" fmla="*/ 177800 h 4908550"/>
                  <a:gd name="connsiteX2" fmla="*/ 2292350 w 3124200"/>
                  <a:gd name="connsiteY2" fmla="*/ 0 h 4908550"/>
                  <a:gd name="connsiteX3" fmla="*/ 2933700 w 3124200"/>
                  <a:gd name="connsiteY3" fmla="*/ 895350 h 4908550"/>
                  <a:gd name="connsiteX4" fmla="*/ 1854200 w 3124200"/>
                  <a:gd name="connsiteY4" fmla="*/ 3727450 h 4908550"/>
                  <a:gd name="connsiteX5" fmla="*/ 2095500 w 3124200"/>
                  <a:gd name="connsiteY5" fmla="*/ 4000500 h 4908550"/>
                  <a:gd name="connsiteX6" fmla="*/ 2959100 w 3124200"/>
                  <a:gd name="connsiteY6" fmla="*/ 3181350 h 4908550"/>
                  <a:gd name="connsiteX7" fmla="*/ 3124200 w 3124200"/>
                  <a:gd name="connsiteY7" fmla="*/ 3467100 h 4908550"/>
                  <a:gd name="connsiteX8" fmla="*/ 711200 w 3124200"/>
                  <a:gd name="connsiteY8" fmla="*/ 4908550 h 4908550"/>
                  <a:gd name="connsiteX9" fmla="*/ 209550 w 3124200"/>
                  <a:gd name="connsiteY9" fmla="*/ 3822700 h 4908550"/>
                  <a:gd name="connsiteX10" fmla="*/ 1352550 w 3124200"/>
                  <a:gd name="connsiteY10" fmla="*/ 977900 h 4908550"/>
                  <a:gd name="connsiteX11" fmla="*/ 939800 w 3124200"/>
                  <a:gd name="connsiteY11" fmla="*/ 787400 h 4908550"/>
                  <a:gd name="connsiteX12" fmla="*/ 215900 w 3124200"/>
                  <a:gd name="connsiteY12" fmla="*/ 1524000 h 4908550"/>
                  <a:gd name="connsiteX13" fmla="*/ 0 w 3124200"/>
                  <a:gd name="connsiteY13" fmla="*/ 1343025 h 4908550"/>
                  <a:gd name="connsiteX0" fmla="*/ 7787 w 3131987"/>
                  <a:gd name="connsiteY0" fmla="*/ 1343025 h 4908550"/>
                  <a:gd name="connsiteX1" fmla="*/ 1379387 w 3131987"/>
                  <a:gd name="connsiteY1" fmla="*/ 177800 h 4908550"/>
                  <a:gd name="connsiteX2" fmla="*/ 2300137 w 3131987"/>
                  <a:gd name="connsiteY2" fmla="*/ 0 h 4908550"/>
                  <a:gd name="connsiteX3" fmla="*/ 2941487 w 3131987"/>
                  <a:gd name="connsiteY3" fmla="*/ 895350 h 4908550"/>
                  <a:gd name="connsiteX4" fmla="*/ 1861987 w 3131987"/>
                  <a:gd name="connsiteY4" fmla="*/ 3727450 h 4908550"/>
                  <a:gd name="connsiteX5" fmla="*/ 2103287 w 3131987"/>
                  <a:gd name="connsiteY5" fmla="*/ 4000500 h 4908550"/>
                  <a:gd name="connsiteX6" fmla="*/ 2966887 w 3131987"/>
                  <a:gd name="connsiteY6" fmla="*/ 3181350 h 4908550"/>
                  <a:gd name="connsiteX7" fmla="*/ 3131987 w 3131987"/>
                  <a:gd name="connsiteY7" fmla="*/ 3467100 h 4908550"/>
                  <a:gd name="connsiteX8" fmla="*/ 718987 w 3131987"/>
                  <a:gd name="connsiteY8" fmla="*/ 4908550 h 4908550"/>
                  <a:gd name="connsiteX9" fmla="*/ 217337 w 3131987"/>
                  <a:gd name="connsiteY9" fmla="*/ 3822700 h 4908550"/>
                  <a:gd name="connsiteX10" fmla="*/ 1360337 w 3131987"/>
                  <a:gd name="connsiteY10" fmla="*/ 977900 h 4908550"/>
                  <a:gd name="connsiteX11" fmla="*/ 947587 w 3131987"/>
                  <a:gd name="connsiteY11" fmla="*/ 787400 h 4908550"/>
                  <a:gd name="connsiteX12" fmla="*/ 223687 w 3131987"/>
                  <a:gd name="connsiteY12" fmla="*/ 1524000 h 4908550"/>
                  <a:gd name="connsiteX13" fmla="*/ 7787 w 3131987"/>
                  <a:gd name="connsiteY13" fmla="*/ 1343025 h 4908550"/>
                  <a:gd name="connsiteX0" fmla="*/ 9667 w 3133867"/>
                  <a:gd name="connsiteY0" fmla="*/ 1343025 h 4908550"/>
                  <a:gd name="connsiteX1" fmla="*/ 1381267 w 3133867"/>
                  <a:gd name="connsiteY1" fmla="*/ 177800 h 4908550"/>
                  <a:gd name="connsiteX2" fmla="*/ 2302017 w 3133867"/>
                  <a:gd name="connsiteY2" fmla="*/ 0 h 4908550"/>
                  <a:gd name="connsiteX3" fmla="*/ 2943367 w 3133867"/>
                  <a:gd name="connsiteY3" fmla="*/ 895350 h 4908550"/>
                  <a:gd name="connsiteX4" fmla="*/ 1863867 w 3133867"/>
                  <a:gd name="connsiteY4" fmla="*/ 3727450 h 4908550"/>
                  <a:gd name="connsiteX5" fmla="*/ 2105167 w 3133867"/>
                  <a:gd name="connsiteY5" fmla="*/ 4000500 h 4908550"/>
                  <a:gd name="connsiteX6" fmla="*/ 2968767 w 3133867"/>
                  <a:gd name="connsiteY6" fmla="*/ 3181350 h 4908550"/>
                  <a:gd name="connsiteX7" fmla="*/ 3133867 w 3133867"/>
                  <a:gd name="connsiteY7" fmla="*/ 3467100 h 4908550"/>
                  <a:gd name="connsiteX8" fmla="*/ 720867 w 3133867"/>
                  <a:gd name="connsiteY8" fmla="*/ 4908550 h 4908550"/>
                  <a:gd name="connsiteX9" fmla="*/ 219217 w 3133867"/>
                  <a:gd name="connsiteY9" fmla="*/ 3822700 h 4908550"/>
                  <a:gd name="connsiteX10" fmla="*/ 1362217 w 3133867"/>
                  <a:gd name="connsiteY10" fmla="*/ 977900 h 4908550"/>
                  <a:gd name="connsiteX11" fmla="*/ 949467 w 3133867"/>
                  <a:gd name="connsiteY11" fmla="*/ 787400 h 4908550"/>
                  <a:gd name="connsiteX12" fmla="*/ 225567 w 3133867"/>
                  <a:gd name="connsiteY12" fmla="*/ 1524000 h 4908550"/>
                  <a:gd name="connsiteX13" fmla="*/ 9667 w 3133867"/>
                  <a:gd name="connsiteY13" fmla="*/ 1343025 h 4908550"/>
                  <a:gd name="connsiteX0" fmla="*/ 9667 w 3133867"/>
                  <a:gd name="connsiteY0" fmla="*/ 1343025 h 4908550"/>
                  <a:gd name="connsiteX1" fmla="*/ 1381267 w 3133867"/>
                  <a:gd name="connsiteY1" fmla="*/ 177800 h 4908550"/>
                  <a:gd name="connsiteX2" fmla="*/ 2302017 w 3133867"/>
                  <a:gd name="connsiteY2" fmla="*/ 0 h 4908550"/>
                  <a:gd name="connsiteX3" fmla="*/ 2943367 w 3133867"/>
                  <a:gd name="connsiteY3" fmla="*/ 895350 h 4908550"/>
                  <a:gd name="connsiteX4" fmla="*/ 1863867 w 3133867"/>
                  <a:gd name="connsiteY4" fmla="*/ 3727450 h 4908550"/>
                  <a:gd name="connsiteX5" fmla="*/ 2105167 w 3133867"/>
                  <a:gd name="connsiteY5" fmla="*/ 4000500 h 4908550"/>
                  <a:gd name="connsiteX6" fmla="*/ 2968767 w 3133867"/>
                  <a:gd name="connsiteY6" fmla="*/ 3181350 h 4908550"/>
                  <a:gd name="connsiteX7" fmla="*/ 3133867 w 3133867"/>
                  <a:gd name="connsiteY7" fmla="*/ 3467100 h 4908550"/>
                  <a:gd name="connsiteX8" fmla="*/ 720867 w 3133867"/>
                  <a:gd name="connsiteY8" fmla="*/ 4908550 h 4908550"/>
                  <a:gd name="connsiteX9" fmla="*/ 219217 w 3133867"/>
                  <a:gd name="connsiteY9" fmla="*/ 3822700 h 4908550"/>
                  <a:gd name="connsiteX10" fmla="*/ 1362217 w 3133867"/>
                  <a:gd name="connsiteY10" fmla="*/ 977900 h 4908550"/>
                  <a:gd name="connsiteX11" fmla="*/ 949467 w 3133867"/>
                  <a:gd name="connsiteY11" fmla="*/ 787400 h 4908550"/>
                  <a:gd name="connsiteX12" fmla="*/ 225567 w 3133867"/>
                  <a:gd name="connsiteY12" fmla="*/ 1524000 h 4908550"/>
                  <a:gd name="connsiteX13" fmla="*/ 9667 w 3133867"/>
                  <a:gd name="connsiteY13" fmla="*/ 1343025 h 4908550"/>
                  <a:gd name="connsiteX0" fmla="*/ 9667 w 3133867"/>
                  <a:gd name="connsiteY0" fmla="*/ 1343025 h 4908550"/>
                  <a:gd name="connsiteX1" fmla="*/ 1381267 w 3133867"/>
                  <a:gd name="connsiteY1" fmla="*/ 177800 h 4908550"/>
                  <a:gd name="connsiteX2" fmla="*/ 2302017 w 3133867"/>
                  <a:gd name="connsiteY2" fmla="*/ 0 h 4908550"/>
                  <a:gd name="connsiteX3" fmla="*/ 2943367 w 3133867"/>
                  <a:gd name="connsiteY3" fmla="*/ 895350 h 4908550"/>
                  <a:gd name="connsiteX4" fmla="*/ 1863867 w 3133867"/>
                  <a:gd name="connsiteY4" fmla="*/ 3727450 h 4908550"/>
                  <a:gd name="connsiteX5" fmla="*/ 2105167 w 3133867"/>
                  <a:gd name="connsiteY5" fmla="*/ 4000500 h 4908550"/>
                  <a:gd name="connsiteX6" fmla="*/ 2968767 w 3133867"/>
                  <a:gd name="connsiteY6" fmla="*/ 3181350 h 4908550"/>
                  <a:gd name="connsiteX7" fmla="*/ 3133867 w 3133867"/>
                  <a:gd name="connsiteY7" fmla="*/ 3467100 h 4908550"/>
                  <a:gd name="connsiteX8" fmla="*/ 720867 w 3133867"/>
                  <a:gd name="connsiteY8" fmla="*/ 4908550 h 4908550"/>
                  <a:gd name="connsiteX9" fmla="*/ 219217 w 3133867"/>
                  <a:gd name="connsiteY9" fmla="*/ 3822700 h 4908550"/>
                  <a:gd name="connsiteX10" fmla="*/ 1362217 w 3133867"/>
                  <a:gd name="connsiteY10" fmla="*/ 977900 h 4908550"/>
                  <a:gd name="connsiteX11" fmla="*/ 949467 w 3133867"/>
                  <a:gd name="connsiteY11" fmla="*/ 787400 h 4908550"/>
                  <a:gd name="connsiteX12" fmla="*/ 225567 w 3133867"/>
                  <a:gd name="connsiteY12" fmla="*/ 1524000 h 4908550"/>
                  <a:gd name="connsiteX13" fmla="*/ 9667 w 3133867"/>
                  <a:gd name="connsiteY13" fmla="*/ 1343025 h 4908550"/>
                  <a:gd name="connsiteX0" fmla="*/ 9667 w 3133867"/>
                  <a:gd name="connsiteY0" fmla="*/ 1343025 h 4908550"/>
                  <a:gd name="connsiteX1" fmla="*/ 1381267 w 3133867"/>
                  <a:gd name="connsiteY1" fmla="*/ 177800 h 4908550"/>
                  <a:gd name="connsiteX2" fmla="*/ 2302017 w 3133867"/>
                  <a:gd name="connsiteY2" fmla="*/ 0 h 4908550"/>
                  <a:gd name="connsiteX3" fmla="*/ 2943367 w 3133867"/>
                  <a:gd name="connsiteY3" fmla="*/ 895350 h 4908550"/>
                  <a:gd name="connsiteX4" fmla="*/ 1863867 w 3133867"/>
                  <a:gd name="connsiteY4" fmla="*/ 3727450 h 4908550"/>
                  <a:gd name="connsiteX5" fmla="*/ 2105167 w 3133867"/>
                  <a:gd name="connsiteY5" fmla="*/ 4000500 h 4908550"/>
                  <a:gd name="connsiteX6" fmla="*/ 2968767 w 3133867"/>
                  <a:gd name="connsiteY6" fmla="*/ 3181350 h 4908550"/>
                  <a:gd name="connsiteX7" fmla="*/ 3133867 w 3133867"/>
                  <a:gd name="connsiteY7" fmla="*/ 3467100 h 4908550"/>
                  <a:gd name="connsiteX8" fmla="*/ 720867 w 3133867"/>
                  <a:gd name="connsiteY8" fmla="*/ 4908550 h 4908550"/>
                  <a:gd name="connsiteX9" fmla="*/ 219217 w 3133867"/>
                  <a:gd name="connsiteY9" fmla="*/ 3822700 h 4908550"/>
                  <a:gd name="connsiteX10" fmla="*/ 1362217 w 3133867"/>
                  <a:gd name="connsiteY10" fmla="*/ 977900 h 4908550"/>
                  <a:gd name="connsiteX11" fmla="*/ 949467 w 3133867"/>
                  <a:gd name="connsiteY11" fmla="*/ 787400 h 4908550"/>
                  <a:gd name="connsiteX12" fmla="*/ 225567 w 3133867"/>
                  <a:gd name="connsiteY12" fmla="*/ 1524000 h 4908550"/>
                  <a:gd name="connsiteX13" fmla="*/ 9667 w 3133867"/>
                  <a:gd name="connsiteY13" fmla="*/ 1343025 h 4908550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4336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4336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24342"/>
                  <a:gd name="connsiteY0" fmla="*/ 1344908 h 4910433"/>
                  <a:gd name="connsiteX1" fmla="*/ 1381267 w 3124342"/>
                  <a:gd name="connsiteY1" fmla="*/ 179683 h 4910433"/>
                  <a:gd name="connsiteX2" fmla="*/ 2302017 w 3124342"/>
                  <a:gd name="connsiteY2" fmla="*/ 1883 h 4910433"/>
                  <a:gd name="connsiteX3" fmla="*/ 2924317 w 3124342"/>
                  <a:gd name="connsiteY3" fmla="*/ 897233 h 4910433"/>
                  <a:gd name="connsiteX4" fmla="*/ 1863867 w 3124342"/>
                  <a:gd name="connsiteY4" fmla="*/ 3729333 h 4910433"/>
                  <a:gd name="connsiteX5" fmla="*/ 2105167 w 3124342"/>
                  <a:gd name="connsiteY5" fmla="*/ 4002383 h 4910433"/>
                  <a:gd name="connsiteX6" fmla="*/ 2968767 w 3124342"/>
                  <a:gd name="connsiteY6" fmla="*/ 3183233 h 4910433"/>
                  <a:gd name="connsiteX7" fmla="*/ 3124342 w 3124342"/>
                  <a:gd name="connsiteY7" fmla="*/ 3468983 h 4910433"/>
                  <a:gd name="connsiteX8" fmla="*/ 720867 w 3124342"/>
                  <a:gd name="connsiteY8" fmla="*/ 4910433 h 4910433"/>
                  <a:gd name="connsiteX9" fmla="*/ 219217 w 3124342"/>
                  <a:gd name="connsiteY9" fmla="*/ 3824583 h 4910433"/>
                  <a:gd name="connsiteX10" fmla="*/ 1362217 w 3124342"/>
                  <a:gd name="connsiteY10" fmla="*/ 979783 h 4910433"/>
                  <a:gd name="connsiteX11" fmla="*/ 949467 w 3124342"/>
                  <a:gd name="connsiteY11" fmla="*/ 789283 h 4910433"/>
                  <a:gd name="connsiteX12" fmla="*/ 225567 w 3124342"/>
                  <a:gd name="connsiteY12" fmla="*/ 1525883 h 4910433"/>
                  <a:gd name="connsiteX13" fmla="*/ 9667 w 3124342"/>
                  <a:gd name="connsiteY13" fmla="*/ 1344908 h 4910433"/>
                  <a:gd name="connsiteX0" fmla="*/ 9667 w 3181844"/>
                  <a:gd name="connsiteY0" fmla="*/ 1344908 h 4910433"/>
                  <a:gd name="connsiteX1" fmla="*/ 1381267 w 3181844"/>
                  <a:gd name="connsiteY1" fmla="*/ 179683 h 4910433"/>
                  <a:gd name="connsiteX2" fmla="*/ 2302017 w 3181844"/>
                  <a:gd name="connsiteY2" fmla="*/ 1883 h 4910433"/>
                  <a:gd name="connsiteX3" fmla="*/ 2924317 w 3181844"/>
                  <a:gd name="connsiteY3" fmla="*/ 897233 h 4910433"/>
                  <a:gd name="connsiteX4" fmla="*/ 1863867 w 3181844"/>
                  <a:gd name="connsiteY4" fmla="*/ 3729333 h 4910433"/>
                  <a:gd name="connsiteX5" fmla="*/ 2105167 w 3181844"/>
                  <a:gd name="connsiteY5" fmla="*/ 4002383 h 4910433"/>
                  <a:gd name="connsiteX6" fmla="*/ 2968767 w 3181844"/>
                  <a:gd name="connsiteY6" fmla="*/ 3183233 h 4910433"/>
                  <a:gd name="connsiteX7" fmla="*/ 3124342 w 3181844"/>
                  <a:gd name="connsiteY7" fmla="*/ 3468983 h 4910433"/>
                  <a:gd name="connsiteX8" fmla="*/ 720867 w 3181844"/>
                  <a:gd name="connsiteY8" fmla="*/ 4910433 h 4910433"/>
                  <a:gd name="connsiteX9" fmla="*/ 219217 w 3181844"/>
                  <a:gd name="connsiteY9" fmla="*/ 3824583 h 4910433"/>
                  <a:gd name="connsiteX10" fmla="*/ 1362217 w 3181844"/>
                  <a:gd name="connsiteY10" fmla="*/ 979783 h 4910433"/>
                  <a:gd name="connsiteX11" fmla="*/ 949467 w 3181844"/>
                  <a:gd name="connsiteY11" fmla="*/ 789283 h 4910433"/>
                  <a:gd name="connsiteX12" fmla="*/ 225567 w 3181844"/>
                  <a:gd name="connsiteY12" fmla="*/ 1525883 h 4910433"/>
                  <a:gd name="connsiteX13" fmla="*/ 9667 w 3181844"/>
                  <a:gd name="connsiteY13" fmla="*/ 1344908 h 4910433"/>
                  <a:gd name="connsiteX0" fmla="*/ 9667 w 3181844"/>
                  <a:gd name="connsiteY0" fmla="*/ 1344908 h 4910433"/>
                  <a:gd name="connsiteX1" fmla="*/ 1381267 w 3181844"/>
                  <a:gd name="connsiteY1" fmla="*/ 179683 h 4910433"/>
                  <a:gd name="connsiteX2" fmla="*/ 2302017 w 3181844"/>
                  <a:gd name="connsiteY2" fmla="*/ 1883 h 4910433"/>
                  <a:gd name="connsiteX3" fmla="*/ 2924317 w 3181844"/>
                  <a:gd name="connsiteY3" fmla="*/ 897233 h 4910433"/>
                  <a:gd name="connsiteX4" fmla="*/ 1863867 w 3181844"/>
                  <a:gd name="connsiteY4" fmla="*/ 3729333 h 4910433"/>
                  <a:gd name="connsiteX5" fmla="*/ 2105167 w 3181844"/>
                  <a:gd name="connsiteY5" fmla="*/ 4002383 h 4910433"/>
                  <a:gd name="connsiteX6" fmla="*/ 2968767 w 3181844"/>
                  <a:gd name="connsiteY6" fmla="*/ 3183233 h 4910433"/>
                  <a:gd name="connsiteX7" fmla="*/ 3124342 w 3181844"/>
                  <a:gd name="connsiteY7" fmla="*/ 3468983 h 4910433"/>
                  <a:gd name="connsiteX8" fmla="*/ 720867 w 3181844"/>
                  <a:gd name="connsiteY8" fmla="*/ 4910433 h 4910433"/>
                  <a:gd name="connsiteX9" fmla="*/ 219217 w 3181844"/>
                  <a:gd name="connsiteY9" fmla="*/ 3824583 h 4910433"/>
                  <a:gd name="connsiteX10" fmla="*/ 1362217 w 3181844"/>
                  <a:gd name="connsiteY10" fmla="*/ 979783 h 4910433"/>
                  <a:gd name="connsiteX11" fmla="*/ 949467 w 3181844"/>
                  <a:gd name="connsiteY11" fmla="*/ 789283 h 4910433"/>
                  <a:gd name="connsiteX12" fmla="*/ 225567 w 3181844"/>
                  <a:gd name="connsiteY12" fmla="*/ 1525883 h 4910433"/>
                  <a:gd name="connsiteX13" fmla="*/ 9667 w 3181844"/>
                  <a:gd name="connsiteY13" fmla="*/ 1344908 h 4910433"/>
                  <a:gd name="connsiteX0" fmla="*/ 9667 w 3181844"/>
                  <a:gd name="connsiteY0" fmla="*/ 1344908 h 4879953"/>
                  <a:gd name="connsiteX1" fmla="*/ 1381267 w 3181844"/>
                  <a:gd name="connsiteY1" fmla="*/ 179683 h 4879953"/>
                  <a:gd name="connsiteX2" fmla="*/ 2302017 w 3181844"/>
                  <a:gd name="connsiteY2" fmla="*/ 1883 h 4879953"/>
                  <a:gd name="connsiteX3" fmla="*/ 2924317 w 3181844"/>
                  <a:gd name="connsiteY3" fmla="*/ 897233 h 4879953"/>
                  <a:gd name="connsiteX4" fmla="*/ 1863867 w 3181844"/>
                  <a:gd name="connsiteY4" fmla="*/ 3729333 h 4879953"/>
                  <a:gd name="connsiteX5" fmla="*/ 2105167 w 3181844"/>
                  <a:gd name="connsiteY5" fmla="*/ 4002383 h 4879953"/>
                  <a:gd name="connsiteX6" fmla="*/ 2968767 w 3181844"/>
                  <a:gd name="connsiteY6" fmla="*/ 3183233 h 4879953"/>
                  <a:gd name="connsiteX7" fmla="*/ 3124342 w 3181844"/>
                  <a:gd name="connsiteY7" fmla="*/ 3468983 h 4879953"/>
                  <a:gd name="connsiteX8" fmla="*/ 720867 w 3181844"/>
                  <a:gd name="connsiteY8" fmla="*/ 4879953 h 4879953"/>
                  <a:gd name="connsiteX9" fmla="*/ 219217 w 3181844"/>
                  <a:gd name="connsiteY9" fmla="*/ 3824583 h 4879953"/>
                  <a:gd name="connsiteX10" fmla="*/ 1362217 w 3181844"/>
                  <a:gd name="connsiteY10" fmla="*/ 979783 h 4879953"/>
                  <a:gd name="connsiteX11" fmla="*/ 949467 w 3181844"/>
                  <a:gd name="connsiteY11" fmla="*/ 789283 h 4879953"/>
                  <a:gd name="connsiteX12" fmla="*/ 225567 w 3181844"/>
                  <a:gd name="connsiteY12" fmla="*/ 1525883 h 4879953"/>
                  <a:gd name="connsiteX13" fmla="*/ 9667 w 3181844"/>
                  <a:gd name="connsiteY13" fmla="*/ 1344908 h 487995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16278 w 3188455"/>
                  <a:gd name="connsiteY0" fmla="*/ 1344908 h 4891373"/>
                  <a:gd name="connsiteX1" fmla="*/ 1387878 w 3188455"/>
                  <a:gd name="connsiteY1" fmla="*/ 179683 h 4891373"/>
                  <a:gd name="connsiteX2" fmla="*/ 2308628 w 3188455"/>
                  <a:gd name="connsiteY2" fmla="*/ 1883 h 4891373"/>
                  <a:gd name="connsiteX3" fmla="*/ 2930928 w 3188455"/>
                  <a:gd name="connsiteY3" fmla="*/ 897233 h 4891373"/>
                  <a:gd name="connsiteX4" fmla="*/ 1870478 w 3188455"/>
                  <a:gd name="connsiteY4" fmla="*/ 3729333 h 4891373"/>
                  <a:gd name="connsiteX5" fmla="*/ 2111778 w 3188455"/>
                  <a:gd name="connsiteY5" fmla="*/ 4002383 h 4891373"/>
                  <a:gd name="connsiteX6" fmla="*/ 2975378 w 3188455"/>
                  <a:gd name="connsiteY6" fmla="*/ 3183233 h 4891373"/>
                  <a:gd name="connsiteX7" fmla="*/ 3130953 w 3188455"/>
                  <a:gd name="connsiteY7" fmla="*/ 3468983 h 4891373"/>
                  <a:gd name="connsiteX8" fmla="*/ 727478 w 3188455"/>
                  <a:gd name="connsiteY8" fmla="*/ 4879953 h 4891373"/>
                  <a:gd name="connsiteX9" fmla="*/ 225828 w 3188455"/>
                  <a:gd name="connsiteY9" fmla="*/ 3824583 h 4891373"/>
                  <a:gd name="connsiteX10" fmla="*/ 1368828 w 3188455"/>
                  <a:gd name="connsiteY10" fmla="*/ 979783 h 4891373"/>
                  <a:gd name="connsiteX11" fmla="*/ 956078 w 3188455"/>
                  <a:gd name="connsiteY11" fmla="*/ 789283 h 4891373"/>
                  <a:gd name="connsiteX12" fmla="*/ 232178 w 3188455"/>
                  <a:gd name="connsiteY12" fmla="*/ 1525883 h 4891373"/>
                  <a:gd name="connsiteX13" fmla="*/ 16278 w 3188455"/>
                  <a:gd name="connsiteY13" fmla="*/ 1344908 h 4891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88455" h="4891373">
                    <a:moveTo>
                      <a:pt x="16278" y="1344908"/>
                    </a:moveTo>
                    <a:cubicBezTo>
                      <a:pt x="479828" y="689800"/>
                      <a:pt x="914803" y="418866"/>
                      <a:pt x="1387878" y="179683"/>
                    </a:cubicBezTo>
                    <a:cubicBezTo>
                      <a:pt x="1770995" y="21991"/>
                      <a:pt x="2033461" y="-8700"/>
                      <a:pt x="2308628" y="1883"/>
                    </a:cubicBezTo>
                    <a:cubicBezTo>
                      <a:pt x="3078036" y="71733"/>
                      <a:pt x="2971145" y="681333"/>
                      <a:pt x="2930928" y="897233"/>
                    </a:cubicBezTo>
                    <a:cubicBezTo>
                      <a:pt x="2602845" y="1882541"/>
                      <a:pt x="2223961" y="2785300"/>
                      <a:pt x="1870478" y="3729333"/>
                    </a:cubicBezTo>
                    <a:cubicBezTo>
                      <a:pt x="1820736" y="4010850"/>
                      <a:pt x="1907520" y="4076466"/>
                      <a:pt x="2111778" y="4002383"/>
                    </a:cubicBezTo>
                    <a:cubicBezTo>
                      <a:pt x="2488545" y="3764258"/>
                      <a:pt x="2687511" y="3456283"/>
                      <a:pt x="2975378" y="3183233"/>
                    </a:cubicBezTo>
                    <a:cubicBezTo>
                      <a:pt x="3182811" y="3053058"/>
                      <a:pt x="3247370" y="3348333"/>
                      <a:pt x="3130953" y="3468983"/>
                    </a:cubicBezTo>
                    <a:cubicBezTo>
                      <a:pt x="2324715" y="4599706"/>
                      <a:pt x="1076516" y="4963350"/>
                      <a:pt x="727478" y="4879953"/>
                    </a:cubicBezTo>
                    <a:cubicBezTo>
                      <a:pt x="164021" y="4777083"/>
                      <a:pt x="83165" y="4496413"/>
                      <a:pt x="225828" y="3824583"/>
                    </a:cubicBezTo>
                    <a:cubicBezTo>
                      <a:pt x="596668" y="2723916"/>
                      <a:pt x="987828" y="1928050"/>
                      <a:pt x="1368828" y="979783"/>
                    </a:cubicBezTo>
                    <a:cubicBezTo>
                      <a:pt x="1434445" y="697843"/>
                      <a:pt x="1307021" y="608943"/>
                      <a:pt x="956078" y="789283"/>
                    </a:cubicBezTo>
                    <a:cubicBezTo>
                      <a:pt x="714778" y="1034816"/>
                      <a:pt x="407438" y="1387030"/>
                      <a:pt x="232178" y="1525883"/>
                    </a:cubicBezTo>
                    <a:cubicBezTo>
                      <a:pt x="112586" y="1649708"/>
                      <a:pt x="-52725" y="1572238"/>
                      <a:pt x="16278" y="1344908"/>
                    </a:cubicBezTo>
                    <a:close/>
                  </a:path>
                </a:pathLst>
              </a:custGeom>
              <a:grpFill/>
              <a:ln>
                <a:solidFill>
                  <a:schemeClr val="accent3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3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1A1A1A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Oval 33"/>
              <p:cNvSpPr/>
              <p:nvPr/>
            </p:nvSpPr>
            <p:spPr bwMode="auto">
              <a:xfrm rot="4148645">
                <a:off x="6173510" y="-468301"/>
                <a:ext cx="1463422" cy="1655235"/>
              </a:xfrm>
              <a:prstGeom prst="ellipse">
                <a:avLst/>
              </a:prstGeom>
              <a:grpFill/>
              <a:ln>
                <a:solidFill>
                  <a:schemeClr val="accent3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3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1A1A1A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35" name="Group 34"/>
          <p:cNvGrpSpPr/>
          <p:nvPr/>
        </p:nvGrpSpPr>
        <p:grpSpPr>
          <a:xfrm>
            <a:off x="788922" y="3633550"/>
            <a:ext cx="434075" cy="539624"/>
            <a:chOff x="2983275" y="1977829"/>
            <a:chExt cx="3232607" cy="4018665"/>
          </a:xfrm>
          <a:solidFill>
            <a:schemeClr val="accent3"/>
          </a:solidFill>
        </p:grpSpPr>
        <p:sp>
          <p:nvSpPr>
            <p:cNvPr id="36" name="Rounded Rectangle 1"/>
            <p:cNvSpPr/>
            <p:nvPr/>
          </p:nvSpPr>
          <p:spPr>
            <a:xfrm>
              <a:off x="2983275" y="1977829"/>
              <a:ext cx="2836173" cy="4018665"/>
            </a:xfrm>
            <a:custGeom>
              <a:avLst/>
              <a:gdLst/>
              <a:ahLst/>
              <a:cxnLst/>
              <a:rect l="l" t="t" r="r" b="b"/>
              <a:pathLst>
                <a:path w="2836173" h="4018665">
                  <a:moveTo>
                    <a:pt x="604193" y="2750734"/>
                  </a:moveTo>
                  <a:lnTo>
                    <a:pt x="604193" y="3040974"/>
                  </a:lnTo>
                  <a:lnTo>
                    <a:pt x="894435" y="3040974"/>
                  </a:lnTo>
                  <a:lnTo>
                    <a:pt x="894435" y="2750734"/>
                  </a:lnTo>
                  <a:close/>
                  <a:moveTo>
                    <a:pt x="487260" y="2633800"/>
                  </a:moveTo>
                  <a:lnTo>
                    <a:pt x="1011367" y="2633800"/>
                  </a:lnTo>
                  <a:lnTo>
                    <a:pt x="1011367" y="3157907"/>
                  </a:lnTo>
                  <a:lnTo>
                    <a:pt x="487260" y="3157907"/>
                  </a:lnTo>
                  <a:close/>
                  <a:moveTo>
                    <a:pt x="604193" y="2039544"/>
                  </a:moveTo>
                  <a:lnTo>
                    <a:pt x="604193" y="2329784"/>
                  </a:lnTo>
                  <a:lnTo>
                    <a:pt x="894435" y="2329784"/>
                  </a:lnTo>
                  <a:lnTo>
                    <a:pt x="894435" y="2039544"/>
                  </a:lnTo>
                  <a:close/>
                  <a:moveTo>
                    <a:pt x="487260" y="1922610"/>
                  </a:moveTo>
                  <a:lnTo>
                    <a:pt x="1011367" y="1922610"/>
                  </a:lnTo>
                  <a:lnTo>
                    <a:pt x="1011367" y="2446717"/>
                  </a:lnTo>
                  <a:lnTo>
                    <a:pt x="487260" y="2446717"/>
                  </a:lnTo>
                  <a:close/>
                  <a:moveTo>
                    <a:pt x="604193" y="1328353"/>
                  </a:moveTo>
                  <a:lnTo>
                    <a:pt x="604193" y="1618593"/>
                  </a:lnTo>
                  <a:lnTo>
                    <a:pt x="894435" y="1618593"/>
                  </a:lnTo>
                  <a:lnTo>
                    <a:pt x="894435" y="1328353"/>
                  </a:lnTo>
                  <a:close/>
                  <a:moveTo>
                    <a:pt x="487260" y="1211419"/>
                  </a:moveTo>
                  <a:lnTo>
                    <a:pt x="1011367" y="1211419"/>
                  </a:lnTo>
                  <a:lnTo>
                    <a:pt x="1011367" y="1735526"/>
                  </a:lnTo>
                  <a:lnTo>
                    <a:pt x="487260" y="1735526"/>
                  </a:lnTo>
                  <a:close/>
                  <a:moveTo>
                    <a:pt x="1709991" y="285430"/>
                  </a:moveTo>
                  <a:lnTo>
                    <a:pt x="2626240" y="285430"/>
                  </a:lnTo>
                  <a:cubicBezTo>
                    <a:pt x="2742182" y="285430"/>
                    <a:pt x="2836173" y="379420"/>
                    <a:pt x="2836173" y="495363"/>
                  </a:cubicBezTo>
                  <a:lnTo>
                    <a:pt x="2836173" y="1408107"/>
                  </a:lnTo>
                  <a:cubicBezTo>
                    <a:pt x="2780811" y="1377668"/>
                    <a:pt x="2720444" y="1356330"/>
                    <a:pt x="2657213" y="1342819"/>
                  </a:cubicBezTo>
                  <a:lnTo>
                    <a:pt x="2657213" y="566328"/>
                  </a:lnTo>
                  <a:lnTo>
                    <a:pt x="1790175" y="566328"/>
                  </a:lnTo>
                  <a:lnTo>
                    <a:pt x="1790175" y="320477"/>
                  </a:lnTo>
                  <a:lnTo>
                    <a:pt x="1793223" y="320490"/>
                  </a:lnTo>
                  <a:lnTo>
                    <a:pt x="1790175" y="319300"/>
                  </a:lnTo>
                  <a:lnTo>
                    <a:pt x="1790175" y="317296"/>
                  </a:lnTo>
                  <a:lnTo>
                    <a:pt x="1785038" y="317296"/>
                  </a:lnTo>
                  <a:cubicBezTo>
                    <a:pt x="1754874" y="307314"/>
                    <a:pt x="1730071" y="297759"/>
                    <a:pt x="1709991" y="285430"/>
                  </a:cubicBezTo>
                  <a:close/>
                  <a:moveTo>
                    <a:pt x="209933" y="285430"/>
                  </a:moveTo>
                  <a:lnTo>
                    <a:pt x="1126182" y="285430"/>
                  </a:lnTo>
                  <a:cubicBezTo>
                    <a:pt x="1106102" y="297759"/>
                    <a:pt x="1081301" y="307314"/>
                    <a:pt x="1051137" y="317296"/>
                  </a:cubicBezTo>
                  <a:lnTo>
                    <a:pt x="1046000" y="317296"/>
                  </a:lnTo>
                  <a:lnTo>
                    <a:pt x="1046000" y="319300"/>
                  </a:lnTo>
                  <a:lnTo>
                    <a:pt x="1042951" y="320490"/>
                  </a:lnTo>
                  <a:lnTo>
                    <a:pt x="1046000" y="320477"/>
                  </a:lnTo>
                  <a:lnTo>
                    <a:pt x="1046000" y="566328"/>
                  </a:lnTo>
                  <a:lnTo>
                    <a:pt x="188021" y="566328"/>
                  </a:lnTo>
                  <a:lnTo>
                    <a:pt x="188021" y="3541144"/>
                  </a:lnTo>
                  <a:cubicBezTo>
                    <a:pt x="227307" y="3547209"/>
                    <a:pt x="274898" y="3549269"/>
                    <a:pt x="352857" y="3534765"/>
                  </a:cubicBezTo>
                  <a:cubicBezTo>
                    <a:pt x="343673" y="3575178"/>
                    <a:pt x="345824" y="3617007"/>
                    <a:pt x="366117" y="3675472"/>
                  </a:cubicBezTo>
                  <a:lnTo>
                    <a:pt x="2657213" y="3675472"/>
                  </a:lnTo>
                  <a:lnTo>
                    <a:pt x="2657213" y="2948701"/>
                  </a:lnTo>
                  <a:cubicBezTo>
                    <a:pt x="2720444" y="2935191"/>
                    <a:pt x="2780811" y="2913852"/>
                    <a:pt x="2836173" y="2883413"/>
                  </a:cubicBezTo>
                  <a:lnTo>
                    <a:pt x="2836173" y="3808732"/>
                  </a:lnTo>
                  <a:cubicBezTo>
                    <a:pt x="2836173" y="3924674"/>
                    <a:pt x="2742182" y="4018665"/>
                    <a:pt x="2626240" y="4018665"/>
                  </a:cubicBezTo>
                  <a:lnTo>
                    <a:pt x="209933" y="4018665"/>
                  </a:lnTo>
                  <a:cubicBezTo>
                    <a:pt x="93991" y="4018665"/>
                    <a:pt x="0" y="3924674"/>
                    <a:pt x="0" y="3808732"/>
                  </a:cubicBezTo>
                  <a:lnTo>
                    <a:pt x="0" y="495363"/>
                  </a:lnTo>
                  <a:cubicBezTo>
                    <a:pt x="0" y="379420"/>
                    <a:pt x="93991" y="285430"/>
                    <a:pt x="209933" y="285430"/>
                  </a:cubicBezTo>
                  <a:close/>
                  <a:moveTo>
                    <a:pt x="1418087" y="90613"/>
                  </a:moveTo>
                  <a:cubicBezTo>
                    <a:pt x="1368825" y="90613"/>
                    <a:pt x="1328890" y="130548"/>
                    <a:pt x="1328890" y="179809"/>
                  </a:cubicBezTo>
                  <a:cubicBezTo>
                    <a:pt x="1328890" y="229070"/>
                    <a:pt x="1368825" y="269005"/>
                    <a:pt x="1418087" y="269005"/>
                  </a:cubicBezTo>
                  <a:cubicBezTo>
                    <a:pt x="1467348" y="269005"/>
                    <a:pt x="1507283" y="229070"/>
                    <a:pt x="1507283" y="179809"/>
                  </a:cubicBezTo>
                  <a:cubicBezTo>
                    <a:pt x="1507283" y="130548"/>
                    <a:pt x="1467348" y="90613"/>
                    <a:pt x="1418087" y="90613"/>
                  </a:cubicBezTo>
                  <a:close/>
                  <a:moveTo>
                    <a:pt x="1410992" y="0"/>
                  </a:moveTo>
                  <a:lnTo>
                    <a:pt x="1418087" y="1314"/>
                  </a:lnTo>
                  <a:lnTo>
                    <a:pt x="1425181" y="0"/>
                  </a:lnTo>
                  <a:cubicBezTo>
                    <a:pt x="1517420" y="0"/>
                    <a:pt x="1593360" y="69015"/>
                    <a:pt x="1600257" y="157982"/>
                  </a:cubicBezTo>
                  <a:lnTo>
                    <a:pt x="1601205" y="158054"/>
                  </a:lnTo>
                  <a:cubicBezTo>
                    <a:pt x="1620423" y="283756"/>
                    <a:pt x="1656230" y="311139"/>
                    <a:pt x="1758778" y="343573"/>
                  </a:cubicBezTo>
                  <a:lnTo>
                    <a:pt x="1763548" y="343573"/>
                  </a:lnTo>
                  <a:lnTo>
                    <a:pt x="1763548" y="345352"/>
                  </a:lnTo>
                  <a:lnTo>
                    <a:pt x="1766378" y="346407"/>
                  </a:lnTo>
                  <a:lnTo>
                    <a:pt x="1763548" y="346396"/>
                  </a:lnTo>
                  <a:lnTo>
                    <a:pt x="1763548" y="601046"/>
                  </a:lnTo>
                  <a:cubicBezTo>
                    <a:pt x="1780538" y="601834"/>
                    <a:pt x="1796627" y="602894"/>
                    <a:pt x="1811667" y="604082"/>
                  </a:cubicBezTo>
                  <a:cubicBezTo>
                    <a:pt x="2018855" y="620443"/>
                    <a:pt x="2151048" y="649389"/>
                    <a:pt x="2242567" y="702246"/>
                  </a:cubicBezTo>
                  <a:cubicBezTo>
                    <a:pt x="2334086" y="755103"/>
                    <a:pt x="2345526" y="818658"/>
                    <a:pt x="2341713" y="891022"/>
                  </a:cubicBezTo>
                  <a:cubicBezTo>
                    <a:pt x="2334143" y="891977"/>
                    <a:pt x="2306971" y="893302"/>
                    <a:pt x="2264420" y="894799"/>
                  </a:cubicBezTo>
                  <a:lnTo>
                    <a:pt x="488893" y="894799"/>
                  </a:lnTo>
                  <a:cubicBezTo>
                    <a:pt x="489646" y="803948"/>
                    <a:pt x="534105" y="727384"/>
                    <a:pt x="618111" y="679593"/>
                  </a:cubicBezTo>
                  <a:cubicBezTo>
                    <a:pt x="703280" y="631140"/>
                    <a:pt x="800513" y="620443"/>
                    <a:pt x="999439" y="607858"/>
                  </a:cubicBezTo>
                  <a:lnTo>
                    <a:pt x="1072626" y="604120"/>
                  </a:lnTo>
                  <a:lnTo>
                    <a:pt x="1072626" y="346396"/>
                  </a:lnTo>
                  <a:lnTo>
                    <a:pt x="1069796" y="346407"/>
                  </a:lnTo>
                  <a:lnTo>
                    <a:pt x="1072626" y="345352"/>
                  </a:lnTo>
                  <a:lnTo>
                    <a:pt x="1072626" y="343573"/>
                  </a:lnTo>
                  <a:lnTo>
                    <a:pt x="1077395" y="343573"/>
                  </a:lnTo>
                  <a:cubicBezTo>
                    <a:pt x="1179943" y="311139"/>
                    <a:pt x="1215751" y="283756"/>
                    <a:pt x="1234968" y="158054"/>
                  </a:cubicBezTo>
                  <a:lnTo>
                    <a:pt x="1235916" y="157982"/>
                  </a:lnTo>
                  <a:cubicBezTo>
                    <a:pt x="1242813" y="69015"/>
                    <a:pt x="1318753" y="0"/>
                    <a:pt x="1410992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65">
                <a:defRPr/>
              </a:pPr>
              <a:endParaRPr lang="en-US" sz="1766" kern="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37" name="Oval 19"/>
            <p:cNvSpPr/>
            <p:nvPr/>
          </p:nvSpPr>
          <p:spPr>
            <a:xfrm>
              <a:off x="4704786" y="3368040"/>
              <a:ext cx="1511096" cy="1511096"/>
            </a:xfrm>
            <a:custGeom>
              <a:avLst/>
              <a:gdLst/>
              <a:ahLst/>
              <a:cxnLst/>
              <a:rect l="l" t="t" r="r" b="b"/>
              <a:pathLst>
                <a:path w="1511096" h="1511096">
                  <a:moveTo>
                    <a:pt x="1106374" y="341188"/>
                  </a:moveTo>
                  <a:cubicBezTo>
                    <a:pt x="1119487" y="340661"/>
                    <a:pt x="1131244" y="344881"/>
                    <a:pt x="1143001" y="357241"/>
                  </a:cubicBezTo>
                  <a:lnTo>
                    <a:pt x="1238865" y="487471"/>
                  </a:lnTo>
                  <a:cubicBezTo>
                    <a:pt x="1249115" y="509779"/>
                    <a:pt x="1253937" y="532087"/>
                    <a:pt x="1226203" y="559821"/>
                  </a:cubicBezTo>
                  <a:cubicBezTo>
                    <a:pt x="1074871" y="667140"/>
                    <a:pt x="858423" y="886603"/>
                    <a:pt x="674533" y="1153092"/>
                  </a:cubicBezTo>
                  <a:cubicBezTo>
                    <a:pt x="643181" y="1171783"/>
                    <a:pt x="624490" y="1176002"/>
                    <a:pt x="596756" y="1160327"/>
                  </a:cubicBezTo>
                  <a:lnTo>
                    <a:pt x="278415" y="811238"/>
                  </a:lnTo>
                  <a:cubicBezTo>
                    <a:pt x="258520" y="792547"/>
                    <a:pt x="260328" y="763003"/>
                    <a:pt x="278415" y="738887"/>
                  </a:cubicBezTo>
                  <a:cubicBezTo>
                    <a:pt x="308562" y="689448"/>
                    <a:pt x="338707" y="668949"/>
                    <a:pt x="368853" y="633980"/>
                  </a:cubicBezTo>
                  <a:cubicBezTo>
                    <a:pt x="400808" y="614687"/>
                    <a:pt x="423720" y="611672"/>
                    <a:pt x="453865" y="635789"/>
                  </a:cubicBezTo>
                  <a:lnTo>
                    <a:pt x="620271" y="804003"/>
                  </a:lnTo>
                  <a:cubicBezTo>
                    <a:pt x="740251" y="619509"/>
                    <a:pt x="889173" y="463957"/>
                    <a:pt x="1061607" y="353624"/>
                  </a:cubicBezTo>
                  <a:cubicBezTo>
                    <a:pt x="1078790" y="346992"/>
                    <a:pt x="1093260" y="341716"/>
                    <a:pt x="1106374" y="341188"/>
                  </a:cubicBezTo>
                  <a:close/>
                  <a:moveTo>
                    <a:pt x="755548" y="118110"/>
                  </a:moveTo>
                  <a:cubicBezTo>
                    <a:pt x="403501" y="118110"/>
                    <a:pt x="118110" y="403501"/>
                    <a:pt x="118110" y="755548"/>
                  </a:cubicBezTo>
                  <a:cubicBezTo>
                    <a:pt x="118110" y="1107595"/>
                    <a:pt x="403501" y="1392986"/>
                    <a:pt x="755548" y="1392986"/>
                  </a:cubicBezTo>
                  <a:cubicBezTo>
                    <a:pt x="1107595" y="1392986"/>
                    <a:pt x="1392986" y="1107595"/>
                    <a:pt x="1392986" y="755548"/>
                  </a:cubicBezTo>
                  <a:cubicBezTo>
                    <a:pt x="1392986" y="403501"/>
                    <a:pt x="1107595" y="118110"/>
                    <a:pt x="755548" y="118110"/>
                  </a:cubicBezTo>
                  <a:close/>
                  <a:moveTo>
                    <a:pt x="755548" y="0"/>
                  </a:moveTo>
                  <a:cubicBezTo>
                    <a:pt x="1172826" y="0"/>
                    <a:pt x="1511096" y="338270"/>
                    <a:pt x="1511096" y="755548"/>
                  </a:cubicBezTo>
                  <a:cubicBezTo>
                    <a:pt x="1511096" y="1172826"/>
                    <a:pt x="1172826" y="1511096"/>
                    <a:pt x="755548" y="1511096"/>
                  </a:cubicBezTo>
                  <a:cubicBezTo>
                    <a:pt x="338270" y="1511096"/>
                    <a:pt x="0" y="1172826"/>
                    <a:pt x="0" y="755548"/>
                  </a:cubicBezTo>
                  <a:cubicBezTo>
                    <a:pt x="0" y="338270"/>
                    <a:pt x="338270" y="0"/>
                    <a:pt x="755548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65">
                <a:defRPr/>
              </a:pPr>
              <a:endParaRPr lang="en-US" sz="1766" kern="0"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38" name="Freeform 96"/>
          <p:cNvSpPr/>
          <p:nvPr/>
        </p:nvSpPr>
        <p:spPr>
          <a:xfrm>
            <a:off x="693862" y="4429515"/>
            <a:ext cx="515852" cy="529144"/>
          </a:xfrm>
          <a:custGeom>
            <a:avLst/>
            <a:gdLst>
              <a:gd name="connsiteX0" fmla="*/ 260828 w 900424"/>
              <a:gd name="connsiteY0" fmla="*/ 764648 h 923624"/>
              <a:gd name="connsiteX1" fmla="*/ 260828 w 900424"/>
              <a:gd name="connsiteY1" fmla="*/ 794160 h 923624"/>
              <a:gd name="connsiteX2" fmla="*/ 752690 w 900424"/>
              <a:gd name="connsiteY2" fmla="*/ 794160 h 923624"/>
              <a:gd name="connsiteX3" fmla="*/ 752690 w 900424"/>
              <a:gd name="connsiteY3" fmla="*/ 764648 h 923624"/>
              <a:gd name="connsiteX4" fmla="*/ 523025 w 900424"/>
              <a:gd name="connsiteY4" fmla="*/ 689333 h 923624"/>
              <a:gd name="connsiteX5" fmla="*/ 529392 w 900424"/>
              <a:gd name="connsiteY5" fmla="*/ 718845 h 923624"/>
              <a:gd name="connsiteX6" fmla="*/ 752690 w 900424"/>
              <a:gd name="connsiteY6" fmla="*/ 718845 h 923624"/>
              <a:gd name="connsiteX7" fmla="*/ 752690 w 900424"/>
              <a:gd name="connsiteY7" fmla="*/ 689333 h 923624"/>
              <a:gd name="connsiteX8" fmla="*/ 260828 w 900424"/>
              <a:gd name="connsiteY8" fmla="*/ 689333 h 923624"/>
              <a:gd name="connsiteX9" fmla="*/ 260828 w 900424"/>
              <a:gd name="connsiteY9" fmla="*/ 718845 h 923624"/>
              <a:gd name="connsiteX10" fmla="*/ 520342 w 900424"/>
              <a:gd name="connsiteY10" fmla="*/ 718845 h 923624"/>
              <a:gd name="connsiteX11" fmla="*/ 427300 w 900424"/>
              <a:gd name="connsiteY11" fmla="*/ 689333 h 923624"/>
              <a:gd name="connsiteX12" fmla="*/ 506777 w 900424"/>
              <a:gd name="connsiteY12" fmla="*/ 614015 h 923624"/>
              <a:gd name="connsiteX13" fmla="*/ 513144 w 900424"/>
              <a:gd name="connsiteY13" fmla="*/ 643527 h 923624"/>
              <a:gd name="connsiteX14" fmla="*/ 752690 w 900424"/>
              <a:gd name="connsiteY14" fmla="*/ 643527 h 923624"/>
              <a:gd name="connsiteX15" fmla="*/ 752690 w 900424"/>
              <a:gd name="connsiteY15" fmla="*/ 614015 h 923624"/>
              <a:gd name="connsiteX16" fmla="*/ 260828 w 900424"/>
              <a:gd name="connsiteY16" fmla="*/ 614015 h 923624"/>
              <a:gd name="connsiteX17" fmla="*/ 260828 w 900424"/>
              <a:gd name="connsiteY17" fmla="*/ 643527 h 923624"/>
              <a:gd name="connsiteX18" fmla="*/ 334546 w 900424"/>
              <a:gd name="connsiteY18" fmla="*/ 643527 h 923624"/>
              <a:gd name="connsiteX19" fmla="*/ 307478 w 900424"/>
              <a:gd name="connsiteY19" fmla="*/ 614015 h 923624"/>
              <a:gd name="connsiteX20" fmla="*/ 467940 w 900424"/>
              <a:gd name="connsiteY20" fmla="*/ 571407 h 923624"/>
              <a:gd name="connsiteX21" fmla="*/ 385032 w 900424"/>
              <a:gd name="connsiteY21" fmla="*/ 646669 h 923624"/>
              <a:gd name="connsiteX22" fmla="*/ 506739 w 900424"/>
              <a:gd name="connsiteY22" fmla="*/ 697133 h 923624"/>
              <a:gd name="connsiteX23" fmla="*/ 260828 w 900424"/>
              <a:gd name="connsiteY23" fmla="*/ 563154 h 923624"/>
              <a:gd name="connsiteX24" fmla="*/ 260828 w 900424"/>
              <a:gd name="connsiteY24" fmla="*/ 568210 h 923624"/>
              <a:gd name="connsiteX25" fmla="*/ 265465 w 900424"/>
              <a:gd name="connsiteY25" fmla="*/ 568210 h 923624"/>
              <a:gd name="connsiteX26" fmla="*/ 477023 w 900424"/>
              <a:gd name="connsiteY26" fmla="*/ 538699 h 923624"/>
              <a:gd name="connsiteX27" fmla="*/ 477810 w 900424"/>
              <a:gd name="connsiteY27" fmla="*/ 539556 h 923624"/>
              <a:gd name="connsiteX28" fmla="*/ 481962 w 900424"/>
              <a:gd name="connsiteY28" fmla="*/ 568210 h 923624"/>
              <a:gd name="connsiteX29" fmla="*/ 752690 w 900424"/>
              <a:gd name="connsiteY29" fmla="*/ 568210 h 923624"/>
              <a:gd name="connsiteX30" fmla="*/ 752690 w 900424"/>
              <a:gd name="connsiteY30" fmla="*/ 538699 h 923624"/>
              <a:gd name="connsiteX31" fmla="*/ 407941 w 900424"/>
              <a:gd name="connsiteY31" fmla="*/ 463381 h 923624"/>
              <a:gd name="connsiteX32" fmla="*/ 435010 w 900424"/>
              <a:gd name="connsiteY32" fmla="*/ 492893 h 923624"/>
              <a:gd name="connsiteX33" fmla="*/ 752690 w 900424"/>
              <a:gd name="connsiteY33" fmla="*/ 492893 h 923624"/>
              <a:gd name="connsiteX34" fmla="*/ 752690 w 900424"/>
              <a:gd name="connsiteY34" fmla="*/ 463381 h 923624"/>
              <a:gd name="connsiteX35" fmla="*/ 338860 w 900424"/>
              <a:gd name="connsiteY35" fmla="*/ 388063 h 923624"/>
              <a:gd name="connsiteX36" fmla="*/ 365929 w 900424"/>
              <a:gd name="connsiteY36" fmla="*/ 417575 h 923624"/>
              <a:gd name="connsiteX37" fmla="*/ 752690 w 900424"/>
              <a:gd name="connsiteY37" fmla="*/ 417575 h 923624"/>
              <a:gd name="connsiteX38" fmla="*/ 752690 w 900424"/>
              <a:gd name="connsiteY38" fmla="*/ 388063 h 923624"/>
              <a:gd name="connsiteX39" fmla="*/ 208773 w 900424"/>
              <a:gd name="connsiteY39" fmla="*/ 287934 h 923624"/>
              <a:gd name="connsiteX40" fmla="*/ 191984 w 900424"/>
              <a:gd name="connsiteY40" fmla="*/ 292572 h 923624"/>
              <a:gd name="connsiteX41" fmla="*/ 127335 w 900424"/>
              <a:gd name="connsiteY41" fmla="*/ 351868 h 923624"/>
              <a:gd name="connsiteX42" fmla="*/ 129474 w 900424"/>
              <a:gd name="connsiteY42" fmla="*/ 386647 h 923624"/>
              <a:gd name="connsiteX43" fmla="*/ 350534 w 900424"/>
              <a:gd name="connsiteY43" fmla="*/ 627663 h 923624"/>
              <a:gd name="connsiteX44" fmla="*/ 384998 w 900424"/>
              <a:gd name="connsiteY44" fmla="*/ 632793 h 923624"/>
              <a:gd name="connsiteX45" fmla="*/ 449647 w 900424"/>
              <a:gd name="connsiteY45" fmla="*/ 573497 h 923624"/>
              <a:gd name="connsiteX46" fmla="*/ 447509 w 900424"/>
              <a:gd name="connsiteY46" fmla="*/ 538719 h 923624"/>
              <a:gd name="connsiteX47" fmla="*/ 226448 w 900424"/>
              <a:gd name="connsiteY47" fmla="*/ 297702 h 923624"/>
              <a:gd name="connsiteX48" fmla="*/ 208773 w 900424"/>
              <a:gd name="connsiteY48" fmla="*/ 287934 h 923624"/>
              <a:gd name="connsiteX49" fmla="*/ 260828 w 900424"/>
              <a:gd name="connsiteY49" fmla="*/ 270220 h 923624"/>
              <a:gd name="connsiteX50" fmla="*/ 260828 w 900424"/>
              <a:gd name="connsiteY50" fmla="*/ 302986 h 923624"/>
              <a:gd name="connsiteX51" fmla="*/ 266867 w 900424"/>
              <a:gd name="connsiteY51" fmla="*/ 309569 h 923624"/>
              <a:gd name="connsiteX52" fmla="*/ 555945 w 900424"/>
              <a:gd name="connsiteY52" fmla="*/ 309569 h 923624"/>
              <a:gd name="connsiteX53" fmla="*/ 555945 w 900424"/>
              <a:gd name="connsiteY53" fmla="*/ 270220 h 923624"/>
              <a:gd name="connsiteX54" fmla="*/ 593007 w 900424"/>
              <a:gd name="connsiteY54" fmla="*/ 119089 h 923624"/>
              <a:gd name="connsiteX55" fmla="*/ 593004 w 900424"/>
              <a:gd name="connsiteY55" fmla="*/ 272798 h 923624"/>
              <a:gd name="connsiteX56" fmla="*/ 636152 w 900424"/>
              <a:gd name="connsiteY56" fmla="*/ 321336 h 923624"/>
              <a:gd name="connsiteX57" fmla="*/ 797949 w 900424"/>
              <a:gd name="connsiteY57" fmla="*/ 324032 h 923624"/>
              <a:gd name="connsiteX58" fmla="*/ 655342 w 900424"/>
              <a:gd name="connsiteY58" fmla="*/ 99448 h 923624"/>
              <a:gd name="connsiteX59" fmla="*/ 721150 w 900424"/>
              <a:gd name="connsiteY59" fmla="*/ 99448 h 923624"/>
              <a:gd name="connsiteX60" fmla="*/ 900424 w 900424"/>
              <a:gd name="connsiteY60" fmla="*/ 281060 h 923624"/>
              <a:gd name="connsiteX61" fmla="*/ 900424 w 900424"/>
              <a:gd name="connsiteY61" fmla="*/ 853516 h 923624"/>
              <a:gd name="connsiteX62" fmla="*/ 852052 w 900424"/>
              <a:gd name="connsiteY62" fmla="*/ 905556 h 923624"/>
              <a:gd name="connsiteX63" fmla="*/ 828360 w 900424"/>
              <a:gd name="connsiteY63" fmla="*/ 905556 h 923624"/>
              <a:gd name="connsiteX64" fmla="*/ 849187 w 900424"/>
              <a:gd name="connsiteY64" fmla="*/ 863467 h 923624"/>
              <a:gd name="connsiteX65" fmla="*/ 849187 w 900424"/>
              <a:gd name="connsiteY65" fmla="*/ 293293 h 923624"/>
              <a:gd name="connsiteX66" fmla="*/ 284672 w 900424"/>
              <a:gd name="connsiteY66" fmla="*/ 26544 h 923624"/>
              <a:gd name="connsiteX67" fmla="*/ 306902 w 900424"/>
              <a:gd name="connsiteY67" fmla="*/ 26544 h 923624"/>
              <a:gd name="connsiteX68" fmla="*/ 312459 w 900424"/>
              <a:gd name="connsiteY68" fmla="*/ 32101 h 923624"/>
              <a:gd name="connsiteX69" fmla="*/ 312459 w 900424"/>
              <a:gd name="connsiteY69" fmla="*/ 71134 h 923624"/>
              <a:gd name="connsiteX70" fmla="*/ 341829 w 900424"/>
              <a:gd name="connsiteY70" fmla="*/ 71134 h 923624"/>
              <a:gd name="connsiteX71" fmla="*/ 341829 w 900424"/>
              <a:gd name="connsiteY71" fmla="*/ 32101 h 923624"/>
              <a:gd name="connsiteX72" fmla="*/ 347386 w 900424"/>
              <a:gd name="connsiteY72" fmla="*/ 26544 h 923624"/>
              <a:gd name="connsiteX73" fmla="*/ 369616 w 900424"/>
              <a:gd name="connsiteY73" fmla="*/ 26544 h 923624"/>
              <a:gd name="connsiteX74" fmla="*/ 375173 w 900424"/>
              <a:gd name="connsiteY74" fmla="*/ 32101 h 923624"/>
              <a:gd name="connsiteX75" fmla="*/ 375173 w 900424"/>
              <a:gd name="connsiteY75" fmla="*/ 71134 h 923624"/>
              <a:gd name="connsiteX76" fmla="*/ 404543 w 900424"/>
              <a:gd name="connsiteY76" fmla="*/ 71134 h 923624"/>
              <a:gd name="connsiteX77" fmla="*/ 404543 w 900424"/>
              <a:gd name="connsiteY77" fmla="*/ 32101 h 923624"/>
              <a:gd name="connsiteX78" fmla="*/ 410100 w 900424"/>
              <a:gd name="connsiteY78" fmla="*/ 26544 h 923624"/>
              <a:gd name="connsiteX79" fmla="*/ 432330 w 900424"/>
              <a:gd name="connsiteY79" fmla="*/ 26544 h 923624"/>
              <a:gd name="connsiteX80" fmla="*/ 437887 w 900424"/>
              <a:gd name="connsiteY80" fmla="*/ 32101 h 923624"/>
              <a:gd name="connsiteX81" fmla="*/ 437887 w 900424"/>
              <a:gd name="connsiteY81" fmla="*/ 71134 h 923624"/>
              <a:gd name="connsiteX82" fmla="*/ 467255 w 900424"/>
              <a:gd name="connsiteY82" fmla="*/ 71134 h 923624"/>
              <a:gd name="connsiteX83" fmla="*/ 467255 w 900424"/>
              <a:gd name="connsiteY83" fmla="*/ 32101 h 923624"/>
              <a:gd name="connsiteX84" fmla="*/ 472813 w 900424"/>
              <a:gd name="connsiteY84" fmla="*/ 26544 h 923624"/>
              <a:gd name="connsiteX85" fmla="*/ 495042 w 900424"/>
              <a:gd name="connsiteY85" fmla="*/ 26544 h 923624"/>
              <a:gd name="connsiteX86" fmla="*/ 500600 w 900424"/>
              <a:gd name="connsiteY86" fmla="*/ 32101 h 923624"/>
              <a:gd name="connsiteX87" fmla="*/ 500600 w 900424"/>
              <a:gd name="connsiteY87" fmla="*/ 71134 h 923624"/>
              <a:gd name="connsiteX88" fmla="*/ 606532 w 900424"/>
              <a:gd name="connsiteY88" fmla="*/ 71134 h 923624"/>
              <a:gd name="connsiteX89" fmla="*/ 833814 w 900424"/>
              <a:gd name="connsiteY89" fmla="*/ 298416 h 923624"/>
              <a:gd name="connsiteX90" fmla="*/ 833814 w 900424"/>
              <a:gd name="connsiteY90" fmla="*/ 868590 h 923624"/>
              <a:gd name="connsiteX91" fmla="*/ 778780 w 900424"/>
              <a:gd name="connsiteY91" fmla="*/ 923624 h 923624"/>
              <a:gd name="connsiteX92" fmla="*/ 239864 w 900424"/>
              <a:gd name="connsiteY92" fmla="*/ 923624 h 923624"/>
              <a:gd name="connsiteX93" fmla="*/ 184830 w 900424"/>
              <a:gd name="connsiteY93" fmla="*/ 868590 h 923624"/>
              <a:gd name="connsiteX94" fmla="*/ 184830 w 900424"/>
              <a:gd name="connsiteY94" fmla="*/ 480294 h 923624"/>
              <a:gd name="connsiteX95" fmla="*/ 108913 w 900424"/>
              <a:gd name="connsiteY95" fmla="*/ 397523 h 923624"/>
              <a:gd name="connsiteX96" fmla="*/ 110701 w 900424"/>
              <a:gd name="connsiteY96" fmla="*/ 356111 h 923624"/>
              <a:gd name="connsiteX97" fmla="*/ 184830 w 900424"/>
              <a:gd name="connsiteY97" fmla="*/ 288121 h 923624"/>
              <a:gd name="connsiteX98" fmla="*/ 184830 w 900424"/>
              <a:gd name="connsiteY98" fmla="*/ 255779 h 923624"/>
              <a:gd name="connsiteX99" fmla="*/ 182259 w 900424"/>
              <a:gd name="connsiteY99" fmla="*/ 258139 h 923624"/>
              <a:gd name="connsiteX100" fmla="*/ 181841 w 900424"/>
              <a:gd name="connsiteY100" fmla="*/ 251347 h 923624"/>
              <a:gd name="connsiteX101" fmla="*/ 140694 w 900424"/>
              <a:gd name="connsiteY101" fmla="*/ 206486 h 923624"/>
              <a:gd name="connsiteX102" fmla="*/ 121321 w 900424"/>
              <a:gd name="connsiteY102" fmla="*/ 203601 h 923624"/>
              <a:gd name="connsiteX103" fmla="*/ 42515 w 900424"/>
              <a:gd name="connsiteY103" fmla="*/ 275879 h 923624"/>
              <a:gd name="connsiteX104" fmla="*/ 43718 w 900424"/>
              <a:gd name="connsiteY104" fmla="*/ 295429 h 923624"/>
              <a:gd name="connsiteX105" fmla="*/ 84866 w 900424"/>
              <a:gd name="connsiteY105" fmla="*/ 340291 h 923624"/>
              <a:gd name="connsiteX106" fmla="*/ 91596 w 900424"/>
              <a:gd name="connsiteY106" fmla="*/ 341293 h 923624"/>
              <a:gd name="connsiteX107" fmla="*/ 83614 w 900424"/>
              <a:gd name="connsiteY107" fmla="*/ 348614 h 923624"/>
              <a:gd name="connsiteX108" fmla="*/ 60335 w 900424"/>
              <a:gd name="connsiteY108" fmla="*/ 347609 h 923624"/>
              <a:gd name="connsiteX109" fmla="*/ 15793 w 900424"/>
              <a:gd name="connsiteY109" fmla="*/ 299045 h 923624"/>
              <a:gd name="connsiteX110" fmla="*/ 16799 w 900424"/>
              <a:gd name="connsiteY110" fmla="*/ 275766 h 923624"/>
              <a:gd name="connsiteX111" fmla="*/ 122114 w 900424"/>
              <a:gd name="connsiteY111" fmla="*/ 179172 h 923624"/>
              <a:gd name="connsiteX112" fmla="*/ 145393 w 900424"/>
              <a:gd name="connsiteY112" fmla="*/ 180177 h 923624"/>
              <a:gd name="connsiteX113" fmla="*/ 184830 w 900424"/>
              <a:gd name="connsiteY113" fmla="*/ 223174 h 923624"/>
              <a:gd name="connsiteX114" fmla="*/ 184830 w 900424"/>
              <a:gd name="connsiteY114" fmla="*/ 126169 h 923624"/>
              <a:gd name="connsiteX115" fmla="*/ 239864 w 900424"/>
              <a:gd name="connsiteY115" fmla="*/ 71134 h 923624"/>
              <a:gd name="connsiteX116" fmla="*/ 279115 w 900424"/>
              <a:gd name="connsiteY116" fmla="*/ 71134 h 923624"/>
              <a:gd name="connsiteX117" fmla="*/ 279115 w 900424"/>
              <a:gd name="connsiteY117" fmla="*/ 32101 h 923624"/>
              <a:gd name="connsiteX118" fmla="*/ 284672 w 900424"/>
              <a:gd name="connsiteY118" fmla="*/ 26544 h 923624"/>
              <a:gd name="connsiteX119" fmla="*/ 185348 w 900424"/>
              <a:gd name="connsiteY119" fmla="*/ 0 h 923624"/>
              <a:gd name="connsiteX120" fmla="*/ 185239 w 900424"/>
              <a:gd name="connsiteY120" fmla="*/ 90 h 923624"/>
              <a:gd name="connsiteX121" fmla="*/ 177024 w 900424"/>
              <a:gd name="connsiteY121" fmla="*/ 4549 h 923624"/>
              <a:gd name="connsiteX122" fmla="*/ 69385 w 900424"/>
              <a:gd name="connsiteY122" fmla="*/ 97763 h 923624"/>
              <a:gd name="connsiteX123" fmla="*/ 0 w 900424"/>
              <a:gd name="connsiteY123" fmla="*/ 195399 h 923624"/>
              <a:gd name="connsiteX124" fmla="*/ 0 w 900424"/>
              <a:gd name="connsiteY124" fmla="*/ 195353 h 923624"/>
              <a:gd name="connsiteX125" fmla="*/ 69366 w 900424"/>
              <a:gd name="connsiteY125" fmla="*/ 97745 h 923624"/>
              <a:gd name="connsiteX126" fmla="*/ 177009 w 900424"/>
              <a:gd name="connsiteY126" fmla="*/ 4526 h 923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00424" h="923624">
                <a:moveTo>
                  <a:pt x="260828" y="764648"/>
                </a:moveTo>
                <a:lnTo>
                  <a:pt x="260828" y="794160"/>
                </a:lnTo>
                <a:lnTo>
                  <a:pt x="752690" y="794160"/>
                </a:lnTo>
                <a:lnTo>
                  <a:pt x="752690" y="764648"/>
                </a:lnTo>
                <a:close/>
                <a:moveTo>
                  <a:pt x="523025" y="689333"/>
                </a:moveTo>
                <a:lnTo>
                  <a:pt x="529392" y="718845"/>
                </a:lnTo>
                <a:lnTo>
                  <a:pt x="752690" y="718845"/>
                </a:lnTo>
                <a:lnTo>
                  <a:pt x="752690" y="689333"/>
                </a:lnTo>
                <a:close/>
                <a:moveTo>
                  <a:pt x="260828" y="689333"/>
                </a:moveTo>
                <a:lnTo>
                  <a:pt x="260828" y="718845"/>
                </a:lnTo>
                <a:lnTo>
                  <a:pt x="520342" y="718845"/>
                </a:lnTo>
                <a:lnTo>
                  <a:pt x="427300" y="689333"/>
                </a:lnTo>
                <a:close/>
                <a:moveTo>
                  <a:pt x="506777" y="614015"/>
                </a:moveTo>
                <a:lnTo>
                  <a:pt x="513144" y="643527"/>
                </a:lnTo>
                <a:lnTo>
                  <a:pt x="752690" y="643527"/>
                </a:lnTo>
                <a:lnTo>
                  <a:pt x="752690" y="614015"/>
                </a:lnTo>
                <a:close/>
                <a:moveTo>
                  <a:pt x="260828" y="614015"/>
                </a:moveTo>
                <a:lnTo>
                  <a:pt x="260828" y="643527"/>
                </a:lnTo>
                <a:lnTo>
                  <a:pt x="334546" y="643527"/>
                </a:lnTo>
                <a:lnTo>
                  <a:pt x="307478" y="614015"/>
                </a:lnTo>
                <a:close/>
                <a:moveTo>
                  <a:pt x="467940" y="571407"/>
                </a:moveTo>
                <a:lnTo>
                  <a:pt x="385032" y="646669"/>
                </a:lnTo>
                <a:lnTo>
                  <a:pt x="506739" y="697133"/>
                </a:lnTo>
                <a:close/>
                <a:moveTo>
                  <a:pt x="260828" y="563154"/>
                </a:moveTo>
                <a:lnTo>
                  <a:pt x="260828" y="568210"/>
                </a:lnTo>
                <a:lnTo>
                  <a:pt x="265465" y="568210"/>
                </a:lnTo>
                <a:close/>
                <a:moveTo>
                  <a:pt x="477023" y="538699"/>
                </a:moveTo>
                <a:lnTo>
                  <a:pt x="477810" y="539556"/>
                </a:lnTo>
                <a:cubicBezTo>
                  <a:pt x="485324" y="547748"/>
                  <a:pt x="487299" y="559060"/>
                  <a:pt x="481962" y="568210"/>
                </a:cubicBezTo>
                <a:lnTo>
                  <a:pt x="752690" y="568210"/>
                </a:lnTo>
                <a:lnTo>
                  <a:pt x="752690" y="538699"/>
                </a:lnTo>
                <a:close/>
                <a:moveTo>
                  <a:pt x="407941" y="463381"/>
                </a:moveTo>
                <a:lnTo>
                  <a:pt x="435010" y="492893"/>
                </a:lnTo>
                <a:lnTo>
                  <a:pt x="752690" y="492893"/>
                </a:lnTo>
                <a:lnTo>
                  <a:pt x="752690" y="463381"/>
                </a:lnTo>
                <a:close/>
                <a:moveTo>
                  <a:pt x="338860" y="388063"/>
                </a:moveTo>
                <a:lnTo>
                  <a:pt x="365929" y="417575"/>
                </a:lnTo>
                <a:lnTo>
                  <a:pt x="752690" y="417575"/>
                </a:lnTo>
                <a:lnTo>
                  <a:pt x="752690" y="388063"/>
                </a:lnTo>
                <a:close/>
                <a:moveTo>
                  <a:pt x="208773" y="287934"/>
                </a:moveTo>
                <a:cubicBezTo>
                  <a:pt x="202536" y="287006"/>
                  <a:pt x="196448" y="288478"/>
                  <a:pt x="191984" y="292572"/>
                </a:cubicBezTo>
                <a:lnTo>
                  <a:pt x="127335" y="351868"/>
                </a:lnTo>
                <a:cubicBezTo>
                  <a:pt x="118408" y="360056"/>
                  <a:pt x="119366" y="375627"/>
                  <a:pt x="129474" y="386647"/>
                </a:cubicBezTo>
                <a:lnTo>
                  <a:pt x="350534" y="627663"/>
                </a:lnTo>
                <a:cubicBezTo>
                  <a:pt x="360643" y="638684"/>
                  <a:pt x="376072" y="640981"/>
                  <a:pt x="384998" y="632793"/>
                </a:cubicBezTo>
                <a:lnTo>
                  <a:pt x="449647" y="573497"/>
                </a:lnTo>
                <a:cubicBezTo>
                  <a:pt x="458574" y="565310"/>
                  <a:pt x="457616" y="549739"/>
                  <a:pt x="447509" y="538719"/>
                </a:cubicBezTo>
                <a:lnTo>
                  <a:pt x="226448" y="297702"/>
                </a:lnTo>
                <a:cubicBezTo>
                  <a:pt x="221394" y="292192"/>
                  <a:pt x="215010" y="288864"/>
                  <a:pt x="208773" y="287934"/>
                </a:cubicBezTo>
                <a:close/>
                <a:moveTo>
                  <a:pt x="260828" y="270220"/>
                </a:moveTo>
                <a:lnTo>
                  <a:pt x="260828" y="302986"/>
                </a:lnTo>
                <a:lnTo>
                  <a:pt x="266867" y="309569"/>
                </a:lnTo>
                <a:lnTo>
                  <a:pt x="555945" y="309569"/>
                </a:lnTo>
                <a:lnTo>
                  <a:pt x="555945" y="270220"/>
                </a:lnTo>
                <a:close/>
                <a:moveTo>
                  <a:pt x="593007" y="119089"/>
                </a:moveTo>
                <a:cubicBezTo>
                  <a:pt x="593007" y="170326"/>
                  <a:pt x="593004" y="221561"/>
                  <a:pt x="593004" y="272798"/>
                </a:cubicBezTo>
                <a:cubicBezTo>
                  <a:pt x="592019" y="301786"/>
                  <a:pt x="619210" y="317966"/>
                  <a:pt x="636152" y="321336"/>
                </a:cubicBezTo>
                <a:lnTo>
                  <a:pt x="797949" y="324032"/>
                </a:lnTo>
                <a:close/>
                <a:moveTo>
                  <a:pt x="655342" y="99448"/>
                </a:moveTo>
                <a:lnTo>
                  <a:pt x="721150" y="99448"/>
                </a:lnTo>
                <a:lnTo>
                  <a:pt x="900424" y="281060"/>
                </a:lnTo>
                <a:lnTo>
                  <a:pt x="900424" y="853516"/>
                </a:lnTo>
                <a:cubicBezTo>
                  <a:pt x="900424" y="882257"/>
                  <a:pt x="878768" y="905556"/>
                  <a:pt x="852052" y="905556"/>
                </a:cubicBezTo>
                <a:lnTo>
                  <a:pt x="828360" y="905556"/>
                </a:lnTo>
                <a:cubicBezTo>
                  <a:pt x="841265" y="896085"/>
                  <a:pt x="849187" y="880701"/>
                  <a:pt x="849187" y="863467"/>
                </a:cubicBezTo>
                <a:lnTo>
                  <a:pt x="849187" y="293293"/>
                </a:lnTo>
                <a:close/>
                <a:moveTo>
                  <a:pt x="284672" y="26544"/>
                </a:moveTo>
                <a:lnTo>
                  <a:pt x="306902" y="26544"/>
                </a:lnTo>
                <a:cubicBezTo>
                  <a:pt x="309971" y="26544"/>
                  <a:pt x="312459" y="29032"/>
                  <a:pt x="312459" y="32101"/>
                </a:cubicBezTo>
                <a:lnTo>
                  <a:pt x="312459" y="71134"/>
                </a:lnTo>
                <a:lnTo>
                  <a:pt x="341829" y="71134"/>
                </a:lnTo>
                <a:lnTo>
                  <a:pt x="341829" y="32101"/>
                </a:lnTo>
                <a:lnTo>
                  <a:pt x="347386" y="26544"/>
                </a:lnTo>
                <a:lnTo>
                  <a:pt x="369616" y="26544"/>
                </a:lnTo>
                <a:cubicBezTo>
                  <a:pt x="372685" y="26544"/>
                  <a:pt x="375173" y="29032"/>
                  <a:pt x="375173" y="32101"/>
                </a:cubicBezTo>
                <a:lnTo>
                  <a:pt x="375173" y="71134"/>
                </a:lnTo>
                <a:lnTo>
                  <a:pt x="404543" y="71134"/>
                </a:lnTo>
                <a:lnTo>
                  <a:pt x="404543" y="32101"/>
                </a:lnTo>
                <a:lnTo>
                  <a:pt x="410100" y="26544"/>
                </a:lnTo>
                <a:lnTo>
                  <a:pt x="432330" y="26544"/>
                </a:lnTo>
                <a:cubicBezTo>
                  <a:pt x="435399" y="26544"/>
                  <a:pt x="437887" y="29032"/>
                  <a:pt x="437887" y="32101"/>
                </a:cubicBezTo>
                <a:lnTo>
                  <a:pt x="437887" y="71134"/>
                </a:lnTo>
                <a:lnTo>
                  <a:pt x="467255" y="71134"/>
                </a:lnTo>
                <a:lnTo>
                  <a:pt x="467255" y="32101"/>
                </a:lnTo>
                <a:lnTo>
                  <a:pt x="472813" y="26544"/>
                </a:lnTo>
                <a:lnTo>
                  <a:pt x="495042" y="26544"/>
                </a:lnTo>
                <a:cubicBezTo>
                  <a:pt x="498112" y="26544"/>
                  <a:pt x="500600" y="29032"/>
                  <a:pt x="500600" y="32101"/>
                </a:cubicBezTo>
                <a:lnTo>
                  <a:pt x="500600" y="71134"/>
                </a:lnTo>
                <a:lnTo>
                  <a:pt x="606532" y="71134"/>
                </a:lnTo>
                <a:lnTo>
                  <a:pt x="833814" y="298416"/>
                </a:lnTo>
                <a:lnTo>
                  <a:pt x="833814" y="868590"/>
                </a:lnTo>
                <a:cubicBezTo>
                  <a:pt x="833814" y="898985"/>
                  <a:pt x="809174" y="923624"/>
                  <a:pt x="778780" y="923624"/>
                </a:cubicBezTo>
                <a:lnTo>
                  <a:pt x="239864" y="923624"/>
                </a:lnTo>
                <a:cubicBezTo>
                  <a:pt x="209468" y="923624"/>
                  <a:pt x="184830" y="898985"/>
                  <a:pt x="184830" y="868590"/>
                </a:cubicBezTo>
                <a:lnTo>
                  <a:pt x="184830" y="480294"/>
                </a:lnTo>
                <a:lnTo>
                  <a:pt x="108913" y="397523"/>
                </a:lnTo>
                <a:cubicBezTo>
                  <a:pt x="97970" y="385594"/>
                  <a:pt x="98771" y="367054"/>
                  <a:pt x="110701" y="356111"/>
                </a:cubicBezTo>
                <a:lnTo>
                  <a:pt x="184830" y="288121"/>
                </a:lnTo>
                <a:lnTo>
                  <a:pt x="184830" y="255779"/>
                </a:lnTo>
                <a:lnTo>
                  <a:pt x="182259" y="258139"/>
                </a:lnTo>
                <a:lnTo>
                  <a:pt x="181841" y="251347"/>
                </a:lnTo>
                <a:lnTo>
                  <a:pt x="140694" y="206486"/>
                </a:lnTo>
                <a:cubicBezTo>
                  <a:pt x="135010" y="200289"/>
                  <a:pt x="126337" y="198998"/>
                  <a:pt x="121321" y="203601"/>
                </a:cubicBezTo>
                <a:lnTo>
                  <a:pt x="42515" y="275879"/>
                </a:lnTo>
                <a:cubicBezTo>
                  <a:pt x="37498" y="280481"/>
                  <a:pt x="38036" y="289234"/>
                  <a:pt x="43718" y="295429"/>
                </a:cubicBezTo>
                <a:lnTo>
                  <a:pt x="84866" y="340291"/>
                </a:lnTo>
                <a:cubicBezTo>
                  <a:pt x="86431" y="341998"/>
                  <a:pt x="88223" y="343333"/>
                  <a:pt x="91596" y="341293"/>
                </a:cubicBezTo>
                <a:lnTo>
                  <a:pt x="83614" y="348614"/>
                </a:lnTo>
                <a:cubicBezTo>
                  <a:pt x="76908" y="354765"/>
                  <a:pt x="66487" y="354315"/>
                  <a:pt x="60335" y="347609"/>
                </a:cubicBezTo>
                <a:lnTo>
                  <a:pt x="15793" y="299045"/>
                </a:lnTo>
                <a:cubicBezTo>
                  <a:pt x="9642" y="292339"/>
                  <a:pt x="10092" y="281917"/>
                  <a:pt x="16799" y="275766"/>
                </a:cubicBezTo>
                <a:lnTo>
                  <a:pt x="122114" y="179172"/>
                </a:lnTo>
                <a:cubicBezTo>
                  <a:pt x="128819" y="173020"/>
                  <a:pt x="139241" y="173471"/>
                  <a:pt x="145393" y="180177"/>
                </a:cubicBezTo>
                <a:lnTo>
                  <a:pt x="184830" y="223174"/>
                </a:lnTo>
                <a:lnTo>
                  <a:pt x="184830" y="126169"/>
                </a:lnTo>
                <a:cubicBezTo>
                  <a:pt x="184830" y="95774"/>
                  <a:pt x="209468" y="71134"/>
                  <a:pt x="239864" y="71134"/>
                </a:cubicBezTo>
                <a:lnTo>
                  <a:pt x="279115" y="71134"/>
                </a:lnTo>
                <a:lnTo>
                  <a:pt x="279115" y="32101"/>
                </a:lnTo>
                <a:cubicBezTo>
                  <a:pt x="279115" y="29032"/>
                  <a:pt x="281603" y="26544"/>
                  <a:pt x="284672" y="26544"/>
                </a:cubicBezTo>
                <a:close/>
                <a:moveTo>
                  <a:pt x="185348" y="0"/>
                </a:moveTo>
                <a:lnTo>
                  <a:pt x="185239" y="90"/>
                </a:lnTo>
                <a:lnTo>
                  <a:pt x="177024" y="4549"/>
                </a:lnTo>
                <a:cubicBezTo>
                  <a:pt x="137501" y="31251"/>
                  <a:pt x="101362" y="62581"/>
                  <a:pt x="69385" y="97763"/>
                </a:cubicBezTo>
                <a:lnTo>
                  <a:pt x="0" y="195399"/>
                </a:lnTo>
                <a:lnTo>
                  <a:pt x="0" y="195353"/>
                </a:lnTo>
                <a:lnTo>
                  <a:pt x="69366" y="97745"/>
                </a:lnTo>
                <a:cubicBezTo>
                  <a:pt x="101344" y="62561"/>
                  <a:pt x="137484" y="31229"/>
                  <a:pt x="177009" y="452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65">
              <a:defRPr/>
            </a:pPr>
            <a:endParaRPr lang="en-US" sz="1766" kern="0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39" name="Rounded Rectangle 307"/>
          <p:cNvSpPr/>
          <p:nvPr/>
        </p:nvSpPr>
        <p:spPr bwMode="auto">
          <a:xfrm rot="1411326">
            <a:off x="673405" y="5300235"/>
            <a:ext cx="665107" cy="573299"/>
          </a:xfrm>
          <a:custGeom>
            <a:avLst/>
            <a:gdLst/>
            <a:ahLst/>
            <a:cxnLst/>
            <a:rect l="l" t="t" r="r" b="b"/>
            <a:pathLst>
              <a:path w="1940586" h="1672716">
                <a:moveTo>
                  <a:pt x="1594590" y="836637"/>
                </a:moveTo>
                <a:lnTo>
                  <a:pt x="1658540" y="842371"/>
                </a:lnTo>
                <a:cubicBezTo>
                  <a:pt x="1671248" y="841246"/>
                  <a:pt x="1681940" y="851407"/>
                  <a:pt x="1684860" y="864336"/>
                </a:cubicBezTo>
                <a:lnTo>
                  <a:pt x="1684580" y="874769"/>
                </a:lnTo>
                <a:cubicBezTo>
                  <a:pt x="1685154" y="874039"/>
                  <a:pt x="1685763" y="874026"/>
                  <a:pt x="1686373" y="874026"/>
                </a:cubicBezTo>
                <a:lnTo>
                  <a:pt x="1896423" y="874026"/>
                </a:lnTo>
                <a:cubicBezTo>
                  <a:pt x="1920812" y="874026"/>
                  <a:pt x="1940586" y="893799"/>
                  <a:pt x="1940586" y="918190"/>
                </a:cubicBezTo>
                <a:lnTo>
                  <a:pt x="1940586" y="1004044"/>
                </a:lnTo>
                <a:cubicBezTo>
                  <a:pt x="1940586" y="1028433"/>
                  <a:pt x="1920813" y="1048207"/>
                  <a:pt x="1896422" y="1048207"/>
                </a:cubicBezTo>
                <a:lnTo>
                  <a:pt x="1686373" y="1048207"/>
                </a:lnTo>
                <a:lnTo>
                  <a:pt x="1679981" y="1045559"/>
                </a:lnTo>
                <a:lnTo>
                  <a:pt x="1679978" y="1045644"/>
                </a:lnTo>
                <a:cubicBezTo>
                  <a:pt x="1681424" y="1061800"/>
                  <a:pt x="1666732" y="1079386"/>
                  <a:pt x="1648547" y="1076110"/>
                </a:cubicBezTo>
                <a:lnTo>
                  <a:pt x="1586646" y="1075080"/>
                </a:lnTo>
                <a:cubicBezTo>
                  <a:pt x="1599893" y="1041340"/>
                  <a:pt x="1609044" y="998191"/>
                  <a:pt x="1613501" y="957088"/>
                </a:cubicBezTo>
                <a:cubicBezTo>
                  <a:pt x="1613259" y="918031"/>
                  <a:pt x="1606273" y="876312"/>
                  <a:pt x="1594590" y="836637"/>
                </a:cubicBezTo>
                <a:close/>
                <a:moveTo>
                  <a:pt x="1214903" y="730649"/>
                </a:moveTo>
                <a:cubicBezTo>
                  <a:pt x="1097792" y="781623"/>
                  <a:pt x="1044179" y="917883"/>
                  <a:pt x="1095153" y="1034993"/>
                </a:cubicBezTo>
                <a:cubicBezTo>
                  <a:pt x="1146128" y="1152103"/>
                  <a:pt x="1282388" y="1205717"/>
                  <a:pt x="1399498" y="1154741"/>
                </a:cubicBezTo>
                <a:cubicBezTo>
                  <a:pt x="1516607" y="1103768"/>
                  <a:pt x="1570222" y="967508"/>
                  <a:pt x="1519246" y="850398"/>
                </a:cubicBezTo>
                <a:cubicBezTo>
                  <a:pt x="1468272" y="733289"/>
                  <a:pt x="1332012" y="679674"/>
                  <a:pt x="1214903" y="730649"/>
                </a:cubicBezTo>
                <a:close/>
                <a:moveTo>
                  <a:pt x="1196770" y="688992"/>
                </a:moveTo>
                <a:cubicBezTo>
                  <a:pt x="1336887" y="628003"/>
                  <a:pt x="1499915" y="692150"/>
                  <a:pt x="1560904" y="832266"/>
                </a:cubicBezTo>
                <a:cubicBezTo>
                  <a:pt x="1621893" y="972382"/>
                  <a:pt x="1557748" y="1135410"/>
                  <a:pt x="1417630" y="1196399"/>
                </a:cubicBezTo>
                <a:cubicBezTo>
                  <a:pt x="1277512" y="1257388"/>
                  <a:pt x="1114485" y="1193241"/>
                  <a:pt x="1053496" y="1053126"/>
                </a:cubicBezTo>
                <a:cubicBezTo>
                  <a:pt x="992508" y="913009"/>
                  <a:pt x="1056653" y="749982"/>
                  <a:pt x="1196770" y="688992"/>
                </a:cubicBezTo>
                <a:close/>
                <a:moveTo>
                  <a:pt x="798997" y="32361"/>
                </a:moveTo>
                <a:lnTo>
                  <a:pt x="945006" y="367805"/>
                </a:lnTo>
                <a:lnTo>
                  <a:pt x="1259331" y="230988"/>
                </a:lnTo>
                <a:close/>
                <a:moveTo>
                  <a:pt x="0" y="355210"/>
                </a:moveTo>
                <a:lnTo>
                  <a:pt x="816064" y="0"/>
                </a:lnTo>
                <a:lnTo>
                  <a:pt x="1276396" y="198625"/>
                </a:lnTo>
                <a:lnTo>
                  <a:pt x="1376483" y="428565"/>
                </a:lnTo>
                <a:lnTo>
                  <a:pt x="1502048" y="717041"/>
                </a:lnTo>
                <a:cubicBezTo>
                  <a:pt x="1418889" y="642212"/>
                  <a:pt x="1296621" y="619672"/>
                  <a:pt x="1187200" y="667302"/>
                </a:cubicBezTo>
                <a:cubicBezTo>
                  <a:pt x="1034809" y="733633"/>
                  <a:pt x="965045" y="910940"/>
                  <a:pt x="1031375" y="1063330"/>
                </a:cubicBezTo>
                <a:cubicBezTo>
                  <a:pt x="1097707" y="1215721"/>
                  <a:pt x="1275015" y="1285486"/>
                  <a:pt x="1427405" y="1219154"/>
                </a:cubicBezTo>
                <a:cubicBezTo>
                  <a:pt x="1492532" y="1190806"/>
                  <a:pt x="1542567" y="1142190"/>
                  <a:pt x="1570364" y="1082625"/>
                </a:cubicBezTo>
                <a:lnTo>
                  <a:pt x="1611979" y="1084480"/>
                </a:lnTo>
                <a:cubicBezTo>
                  <a:pt x="1611907" y="1085463"/>
                  <a:pt x="1611568" y="1086339"/>
                  <a:pt x="1611227" y="1087208"/>
                </a:cubicBezTo>
                <a:lnTo>
                  <a:pt x="1663550" y="1088078"/>
                </a:lnTo>
                <a:lnTo>
                  <a:pt x="1695407" y="1161267"/>
                </a:lnTo>
                <a:lnTo>
                  <a:pt x="1703861" y="1180690"/>
                </a:lnTo>
                <a:lnTo>
                  <a:pt x="573472" y="1672716"/>
                </a:lnTo>
                <a:lnTo>
                  <a:pt x="565018" y="1653293"/>
                </a:lnTo>
                <a:lnTo>
                  <a:pt x="246094" y="92059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5">
              <a:defRPr/>
            </a:pPr>
            <a:endParaRPr lang="en-US" sz="1766" kern="0" err="1">
              <a:ln>
                <a:solidFill>
                  <a:srgbClr val="505050">
                    <a:alpha val="0"/>
                  </a:srgbClr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pic>
        <p:nvPicPr>
          <p:cNvPr id="42" name="BFW-hero-animation-hq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5868" t="1799" b="8202"/>
          <a:stretch/>
        </p:blipFill>
        <p:spPr>
          <a:xfrm>
            <a:off x="6709753" y="2727154"/>
            <a:ext cx="4933662" cy="3190253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17535" y="2727154"/>
            <a:ext cx="4928937" cy="3190253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 bwMode="auto">
          <a:xfrm>
            <a:off x="6709754" y="2531335"/>
            <a:ext cx="4928937" cy="3581890"/>
          </a:xfrm>
          <a:prstGeom prst="rect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00" tIns="45701" rIns="91400" bIns="457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5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436566" y="2531335"/>
            <a:ext cx="4928937" cy="3581890"/>
          </a:xfrm>
          <a:prstGeom prst="rect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3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1A1A1A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709754" y="1857352"/>
            <a:ext cx="2753651" cy="615435"/>
          </a:xfrm>
          <a:prstGeom prst="rect">
            <a:avLst/>
          </a:prstGeom>
          <a:noFill/>
        </p:spPr>
        <p:txBody>
          <a:bodyPr wrap="none" lIns="179235" tIns="143388" rIns="179235" bIns="143388">
            <a:spAutoFit/>
          </a:bodyPr>
          <a:lstStyle/>
          <a:p>
            <a:pPr defTabSz="895639">
              <a:lnSpc>
                <a:spcPct val="90000"/>
              </a:lnSpc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rPr>
              <a:t>Operationalization</a:t>
            </a:r>
          </a:p>
        </p:txBody>
      </p:sp>
      <p:sp>
        <p:nvSpPr>
          <p:cNvPr id="44" name="Rectangle 43"/>
          <p:cNvSpPr/>
          <p:nvPr/>
        </p:nvSpPr>
        <p:spPr>
          <a:xfrm>
            <a:off x="436565" y="1857352"/>
            <a:ext cx="1351024" cy="615435"/>
          </a:xfrm>
          <a:prstGeom prst="rect">
            <a:avLst/>
          </a:prstGeom>
          <a:noFill/>
        </p:spPr>
        <p:txBody>
          <a:bodyPr wrap="none" lIns="179235" tIns="143388" rIns="179235" bIns="143388">
            <a:spAutoFit/>
          </a:bodyPr>
          <a:lstStyle/>
          <a:p>
            <a:pPr defTabSz="895639">
              <a:lnSpc>
                <a:spcPct val="90000"/>
              </a:lnSpc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rPr>
              <a:t>Insights</a:t>
            </a:r>
            <a:endParaRPr lang="en-US" sz="1766" kern="0" dirty="0">
              <a:solidFill>
                <a:srgbClr val="1A1A1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09665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058" fill="hold"/>
                                        <p:tgtEl>
                                          <p:spTgt spid="4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7058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4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4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2"/>
                  </p:tgtEl>
                </p:cond>
              </p:nextCondLst>
            </p:seq>
            <p:video>
              <p:cMediaNode vol="80000">
                <p:cTn id="15" fill="hold" display="0">
                  <p:stCondLst>
                    <p:cond delay="indefinite"/>
                  </p:stCondLst>
                </p:cTn>
                <p:tgtEl>
                  <p:spTgt spid="42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289" y="301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3" name="Object 2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89" y="301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5176" y="280407"/>
            <a:ext cx="11373624" cy="663797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313" b="0" dirty="0">
                <a:solidFill>
                  <a:schemeClr val="tx1"/>
                </a:solidFill>
                <a:latin typeface="+mn-lt"/>
              </a:rPr>
              <a:t>Combining Services for real-world applications</a:t>
            </a:r>
          </a:p>
        </p:txBody>
      </p:sp>
      <p:graphicFrame>
        <p:nvGraphicFramePr>
          <p:cNvPr id="75" name="Table 20"/>
          <p:cNvGraphicFramePr>
            <a:graphicFrameLocks noGrp="1"/>
          </p:cNvGraphicFramePr>
          <p:nvPr>
            <p:extLst/>
          </p:nvPr>
        </p:nvGraphicFramePr>
        <p:xfrm>
          <a:off x="494787" y="4667395"/>
          <a:ext cx="2139088" cy="1057302"/>
        </p:xfrm>
        <a:graphic>
          <a:graphicData uri="http://schemas.openxmlformats.org/drawingml/2006/table">
            <a:tbl>
              <a:tblPr firstRow="1" bandRow="1"/>
              <a:tblGrid>
                <a:gridCol w="11112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78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Category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People; 5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 faces</a:t>
                      </a:r>
                      <a:endParaRPr lang="en-US" sz="110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Adult/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R</a:t>
                      </a: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acy?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False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/False</a:t>
                      </a:r>
                      <a:endParaRPr lang="en-US" sz="110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32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Dominant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 c</a:t>
                      </a: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olors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Accent color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 dirty="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7378361C-EDD6-4EC3-ACEA-2B3010346395}"/>
              </a:ext>
            </a:extLst>
          </p:cNvPr>
          <p:cNvGrpSpPr/>
          <p:nvPr/>
        </p:nvGrpSpPr>
        <p:grpSpPr>
          <a:xfrm>
            <a:off x="444656" y="1249168"/>
            <a:ext cx="2218314" cy="5050422"/>
            <a:chOff x="454375" y="1248859"/>
            <a:chExt cx="2218629" cy="5051138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664472" y="5190741"/>
              <a:ext cx="108815" cy="1058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Rectangle 80"/>
            <p:cNvSpPr/>
            <p:nvPr/>
          </p:nvSpPr>
          <p:spPr bwMode="auto">
            <a:xfrm>
              <a:off x="1830226" y="5190741"/>
              <a:ext cx="108815" cy="10585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Rectangle 90"/>
            <p:cNvSpPr/>
            <p:nvPr/>
          </p:nvSpPr>
          <p:spPr bwMode="auto">
            <a:xfrm>
              <a:off x="1995978" y="5190741"/>
              <a:ext cx="108815" cy="10585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4" name="Rectangle 103"/>
            <p:cNvSpPr/>
            <p:nvPr/>
          </p:nvSpPr>
          <p:spPr bwMode="auto">
            <a:xfrm>
              <a:off x="1664472" y="5330977"/>
              <a:ext cx="108817" cy="105859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454375" y="1248859"/>
              <a:ext cx="2218629" cy="5051138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7"/>
            <a:srcRect t="7654"/>
            <a:stretch/>
          </p:blipFill>
          <p:spPr>
            <a:xfrm>
              <a:off x="502631" y="3328140"/>
              <a:ext cx="2122117" cy="1239947"/>
            </a:xfrm>
            <a:prstGeom prst="rect">
              <a:avLst/>
            </a:prstGeom>
          </p:spPr>
        </p:pic>
        <p:sp>
          <p:nvSpPr>
            <p:cNvPr id="79" name="Oval Callout 6"/>
            <p:cNvSpPr/>
            <p:nvPr/>
          </p:nvSpPr>
          <p:spPr bwMode="auto">
            <a:xfrm>
              <a:off x="1229721" y="1915078"/>
              <a:ext cx="1284879" cy="45706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What is in the image or video?</a:t>
              </a:r>
            </a:p>
          </p:txBody>
        </p:sp>
        <p:sp>
          <p:nvSpPr>
            <p:cNvPr id="80" name="Pentagon 79"/>
            <p:cNvSpPr/>
            <p:nvPr/>
          </p:nvSpPr>
          <p:spPr bwMode="auto">
            <a:xfrm rot="5400000">
              <a:off x="1375092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Computer Vision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0377B17-3D2F-4226-8BD8-3DD550191F37}"/>
              </a:ext>
            </a:extLst>
          </p:cNvPr>
          <p:cNvGrpSpPr/>
          <p:nvPr/>
        </p:nvGrpSpPr>
        <p:grpSpPr>
          <a:xfrm>
            <a:off x="455175" y="1296065"/>
            <a:ext cx="2218314" cy="478160"/>
            <a:chOff x="454375" y="1295762"/>
            <a:chExt cx="2218629" cy="478228"/>
          </a:xfrm>
          <a:solidFill>
            <a:schemeClr val="accent3"/>
          </a:solidFill>
        </p:grpSpPr>
        <p:sp>
          <p:nvSpPr>
            <p:cNvPr id="88" name="Freeform 78"/>
            <p:cNvSpPr/>
            <p:nvPr/>
          </p:nvSpPr>
          <p:spPr bwMode="auto">
            <a:xfrm>
              <a:off x="454375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Vision</a:t>
              </a:r>
            </a:p>
          </p:txBody>
        </p:sp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572C6FFC-E1AF-4173-96DF-33A4A88014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123297" y="1316928"/>
              <a:ext cx="530014" cy="457062"/>
            </a:xfrm>
            <a:prstGeom prst="rect">
              <a:avLst/>
            </a:prstGeom>
            <a:noFill/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9087AD-A19F-4746-8589-1B76D50F7D40}"/>
              </a:ext>
            </a:extLst>
          </p:cNvPr>
          <p:cNvGrpSpPr/>
          <p:nvPr/>
        </p:nvGrpSpPr>
        <p:grpSpPr>
          <a:xfrm>
            <a:off x="2748577" y="1296064"/>
            <a:ext cx="2218314" cy="5005581"/>
            <a:chOff x="2748101" y="1295761"/>
            <a:chExt cx="2218629" cy="5006291"/>
          </a:xfrm>
        </p:grpSpPr>
        <p:sp>
          <p:nvSpPr>
            <p:cNvPr id="92" name="Rectangle 91"/>
            <p:cNvSpPr/>
            <p:nvPr/>
          </p:nvSpPr>
          <p:spPr bwMode="auto">
            <a:xfrm>
              <a:off x="2748101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7" name="Oval Callout 6"/>
            <p:cNvSpPr/>
            <p:nvPr/>
          </p:nvSpPr>
          <p:spPr bwMode="auto">
            <a:xfrm>
              <a:off x="3433764" y="1915078"/>
              <a:ext cx="1406430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Give me directions to the nearest local branch</a:t>
              </a:r>
            </a:p>
          </p:txBody>
        </p:sp>
        <p:sp>
          <p:nvSpPr>
            <p:cNvPr id="100" name="Pentagon 99"/>
            <p:cNvSpPr/>
            <p:nvPr/>
          </p:nvSpPr>
          <p:spPr bwMode="auto">
            <a:xfrm rot="5400000">
              <a:off x="3668818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Speech Service</a:t>
              </a: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2825290" y="3663978"/>
              <a:ext cx="2064251" cy="2012176"/>
              <a:chOff x="2067831" y="3143351"/>
              <a:chExt cx="1548408" cy="1509346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2067831" y="3961502"/>
                <a:ext cx="1548408" cy="691195"/>
                <a:chOff x="2762800" y="5351137"/>
                <a:chExt cx="2139696" cy="955140"/>
              </a:xfrm>
            </p:grpSpPr>
            <p:sp>
              <p:nvSpPr>
                <p:cNvPr id="95" name="TextBox 94"/>
                <p:cNvSpPr txBox="1"/>
                <p:nvPr/>
              </p:nvSpPr>
              <p:spPr>
                <a:xfrm>
                  <a:off x="2762800" y="5351137"/>
                  <a:ext cx="2139696" cy="273740"/>
                </a:xfrm>
                <a:prstGeom prst="rect">
                  <a:avLst/>
                </a:prstGeom>
                <a:noFill/>
                <a:ln w="6350">
                  <a:solidFill>
                    <a:schemeClr val="bg2">
                      <a:lumMod val="85000"/>
                    </a:schemeClr>
                  </a:solidFill>
                </a:ln>
              </p:spPr>
              <p:txBody>
                <a:bodyPr wrap="square" lIns="91427" tIns="45713" rIns="91427" bIns="45713" rtlCol="0" anchor="ctr" anchorCtr="0">
                  <a:noAutofit/>
                </a:bodyPr>
                <a:lstStyle>
                  <a:defPPr>
                    <a:defRPr lang="en-US"/>
                  </a:defPPr>
                  <a:lvl1pPr marR="0" lvl="0" indent="0" defTabSz="896386" fontAlgn="auto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 kumimoji="0" sz="1100" b="0" i="1" u="none" strike="noStrike" kern="0" cap="none" spc="0" normalizeH="0" baseline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defRPr>
                  </a:lvl1pPr>
                </a:lstStyle>
                <a:p>
                  <a:pPr defTabSz="932563">
                    <a:spcAft>
                      <a:spcPts val="574"/>
                    </a:spcAft>
                    <a:defRPr/>
                  </a:pPr>
                  <a:r>
                    <a:rPr lang="en-US" i="0" kern="1200" dirty="0">
                      <a:gradFill>
                        <a:gsLst>
                          <a:gs pos="70732">
                            <a:srgbClr val="3F3F3F"/>
                          </a:gs>
                          <a:gs pos="50000">
                            <a:srgbClr val="3F3F3F"/>
                          </a:gs>
                        </a:gsLst>
                        <a:lin ang="5400000" scaled="1"/>
                      </a:gradFill>
                      <a:latin typeface="Segoe UI"/>
                      <a:cs typeface="Segoe UI" panose="020B0502040204020203" pitchFamily="34" charset="0"/>
                    </a:rPr>
                    <a:t>Convert spoken audio to text </a:t>
                  </a:r>
                </a:p>
              </p:txBody>
            </p:sp>
            <p:sp>
              <p:nvSpPr>
                <p:cNvPr id="99" name="TextBox 98"/>
                <p:cNvSpPr txBox="1"/>
                <p:nvPr/>
              </p:nvSpPr>
              <p:spPr>
                <a:xfrm>
                  <a:off x="2762800" y="5691837"/>
                  <a:ext cx="2139696" cy="273740"/>
                </a:xfrm>
                <a:prstGeom prst="rect">
                  <a:avLst/>
                </a:prstGeom>
                <a:noFill/>
                <a:ln w="6350">
                  <a:solidFill>
                    <a:schemeClr val="bg2">
                      <a:lumMod val="85000"/>
                    </a:schemeClr>
                  </a:solidFill>
                </a:ln>
              </p:spPr>
              <p:txBody>
                <a:bodyPr wrap="square" lIns="91427" tIns="45713" rIns="91427" bIns="45713" rtlCol="0" anchor="ctr" anchorCtr="0">
                  <a:noAutofit/>
                </a:bodyPr>
                <a:lstStyle>
                  <a:defPPr>
                    <a:defRPr lang="en-US"/>
                  </a:defPPr>
                  <a:lvl1pPr marR="0" lvl="0" indent="0" defTabSz="896386" fontAlgn="auto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 kumimoji="0" sz="1100" b="0" i="1" u="none" strike="noStrike" kern="0" cap="none" spc="0" normalizeH="0" baseline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defRPr>
                  </a:lvl1pPr>
                </a:lstStyle>
                <a:p>
                  <a:pPr defTabSz="932563">
                    <a:spcAft>
                      <a:spcPts val="574"/>
                    </a:spcAft>
                    <a:defRPr/>
                  </a:pPr>
                  <a:r>
                    <a:rPr lang="en-US" i="0" kern="1200" dirty="0">
                      <a:gradFill>
                        <a:gsLst>
                          <a:gs pos="70732">
                            <a:srgbClr val="3F3F3F"/>
                          </a:gs>
                          <a:gs pos="50000">
                            <a:srgbClr val="3F3F3F"/>
                          </a:gs>
                        </a:gsLst>
                        <a:lin ang="5400000" scaled="1"/>
                      </a:gradFill>
                      <a:latin typeface="Segoe UI"/>
                      <a:cs typeface="Segoe UI" panose="020B0502040204020203" pitchFamily="34" charset="0"/>
                    </a:rPr>
                    <a:t>Convert text to spoken audio</a:t>
                  </a:r>
                </a:p>
              </p:txBody>
            </p:sp>
            <p:sp>
              <p:nvSpPr>
                <p:cNvPr id="102" name="TextBox 101"/>
                <p:cNvSpPr txBox="1"/>
                <p:nvPr/>
              </p:nvSpPr>
              <p:spPr>
                <a:xfrm>
                  <a:off x="2762800" y="6032537"/>
                  <a:ext cx="2139696" cy="273740"/>
                </a:xfrm>
                <a:prstGeom prst="rect">
                  <a:avLst/>
                </a:prstGeom>
                <a:noFill/>
                <a:ln w="6350">
                  <a:solidFill>
                    <a:schemeClr val="bg2">
                      <a:lumMod val="85000"/>
                    </a:schemeClr>
                  </a:solidFill>
                </a:ln>
              </p:spPr>
              <p:txBody>
                <a:bodyPr wrap="square" lIns="91427" tIns="45713" rIns="91427" bIns="45713" rtlCol="0" anchor="ctr" anchorCtr="0">
                  <a:noAutofit/>
                </a:bodyPr>
                <a:lstStyle/>
                <a:p>
                  <a:pPr defTabSz="932563">
                    <a:lnSpc>
                      <a:spcPct val="90000"/>
                    </a:lnSpc>
                    <a:spcAft>
                      <a:spcPts val="574"/>
                    </a:spcAft>
                    <a:defRPr/>
                  </a:pPr>
                  <a:r>
                    <a:rPr lang="en-US" sz="1100" dirty="0">
                      <a:gradFill>
                        <a:gsLst>
                          <a:gs pos="70732">
                            <a:srgbClr val="3F3F3F"/>
                          </a:gs>
                          <a:gs pos="50000">
                            <a:srgbClr val="3F3F3F"/>
                          </a:gs>
                        </a:gsLst>
                        <a:lin ang="5400000" scaled="1"/>
                      </a:gradFill>
                      <a:latin typeface="Segoe UI"/>
                      <a:cs typeface="Segoe UI" panose="020B0502040204020203" pitchFamily="34" charset="0"/>
                    </a:rPr>
                    <a:t>Extract intent of user</a:t>
                  </a:r>
                </a:p>
              </p:txBody>
            </p:sp>
          </p:grpSp>
          <p:grpSp>
            <p:nvGrpSpPr>
              <p:cNvPr id="90" name="Group 89"/>
              <p:cNvGrpSpPr/>
              <p:nvPr/>
            </p:nvGrpSpPr>
            <p:grpSpPr>
              <a:xfrm>
                <a:off x="2931034" y="3143351"/>
                <a:ext cx="658441" cy="443451"/>
                <a:chOff x="1374991" y="2239434"/>
                <a:chExt cx="3540752" cy="2384648"/>
              </a:xfrm>
            </p:grpSpPr>
            <p:sp>
              <p:nvSpPr>
                <p:cNvPr id="94" name="Rectangle 93"/>
                <p:cNvSpPr/>
                <p:nvPr/>
              </p:nvSpPr>
              <p:spPr bwMode="auto">
                <a:xfrm>
                  <a:off x="1374991" y="2239434"/>
                  <a:ext cx="3540752" cy="2384648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chemeClr val="bg1">
                      <a:lumMod val="7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3" name="Freeform: Shape 102"/>
                <p:cNvSpPr/>
                <p:nvPr/>
              </p:nvSpPr>
              <p:spPr bwMode="auto">
                <a:xfrm>
                  <a:off x="1374991" y="2239434"/>
                  <a:ext cx="3540752" cy="2384648"/>
                </a:xfrm>
                <a:custGeom>
                  <a:avLst/>
                  <a:gdLst>
                    <a:gd name="connsiteX0" fmla="*/ 2957934 w 3540752"/>
                    <a:gd name="connsiteY0" fmla="*/ 1889480 h 2384648"/>
                    <a:gd name="connsiteX1" fmla="*/ 3540752 w 3540752"/>
                    <a:gd name="connsiteY1" fmla="*/ 1889480 h 2384648"/>
                    <a:gd name="connsiteX2" fmla="*/ 3540752 w 3540752"/>
                    <a:gd name="connsiteY2" fmla="*/ 2384648 h 2384648"/>
                    <a:gd name="connsiteX3" fmla="*/ 2957934 w 3540752"/>
                    <a:gd name="connsiteY3" fmla="*/ 2384648 h 2384648"/>
                    <a:gd name="connsiteX4" fmla="*/ 1860441 w 3540752"/>
                    <a:gd name="connsiteY4" fmla="*/ 1889480 h 2384648"/>
                    <a:gd name="connsiteX5" fmla="*/ 2845045 w 3540752"/>
                    <a:gd name="connsiteY5" fmla="*/ 1889480 h 2384648"/>
                    <a:gd name="connsiteX6" fmla="*/ 2845045 w 3540752"/>
                    <a:gd name="connsiteY6" fmla="*/ 2384648 h 2384648"/>
                    <a:gd name="connsiteX7" fmla="*/ 1860441 w 3540752"/>
                    <a:gd name="connsiteY7" fmla="*/ 2384648 h 2384648"/>
                    <a:gd name="connsiteX8" fmla="*/ 479628 w 3540752"/>
                    <a:gd name="connsiteY8" fmla="*/ 1889480 h 2384648"/>
                    <a:gd name="connsiteX9" fmla="*/ 1747552 w 3540752"/>
                    <a:gd name="connsiteY9" fmla="*/ 1889480 h 2384648"/>
                    <a:gd name="connsiteX10" fmla="*/ 1747552 w 3540752"/>
                    <a:gd name="connsiteY10" fmla="*/ 2384648 h 2384648"/>
                    <a:gd name="connsiteX11" fmla="*/ 295159 w 3540752"/>
                    <a:gd name="connsiteY11" fmla="*/ 2384648 h 2384648"/>
                    <a:gd name="connsiteX12" fmla="*/ 0 w 3540752"/>
                    <a:gd name="connsiteY12" fmla="*/ 1889480 h 2384648"/>
                    <a:gd name="connsiteX13" fmla="*/ 359160 w 3540752"/>
                    <a:gd name="connsiteY13" fmla="*/ 1889480 h 2384648"/>
                    <a:gd name="connsiteX14" fmla="*/ 174690 w 3540752"/>
                    <a:gd name="connsiteY14" fmla="*/ 2384648 h 2384648"/>
                    <a:gd name="connsiteX15" fmla="*/ 0 w 3540752"/>
                    <a:gd name="connsiteY15" fmla="*/ 2384648 h 2384648"/>
                    <a:gd name="connsiteX16" fmla="*/ 2957934 w 3540752"/>
                    <a:gd name="connsiteY16" fmla="*/ 1275644 h 2384648"/>
                    <a:gd name="connsiteX17" fmla="*/ 3540752 w 3540752"/>
                    <a:gd name="connsiteY17" fmla="*/ 1275644 h 2384648"/>
                    <a:gd name="connsiteX18" fmla="*/ 3540752 w 3540752"/>
                    <a:gd name="connsiteY18" fmla="*/ 1776591 h 2384648"/>
                    <a:gd name="connsiteX19" fmla="*/ 2957934 w 3540752"/>
                    <a:gd name="connsiteY19" fmla="*/ 1776591 h 2384648"/>
                    <a:gd name="connsiteX20" fmla="*/ 1860442 w 3540752"/>
                    <a:gd name="connsiteY20" fmla="*/ 1275644 h 2384648"/>
                    <a:gd name="connsiteX21" fmla="*/ 2845045 w 3540752"/>
                    <a:gd name="connsiteY21" fmla="*/ 1275644 h 2384648"/>
                    <a:gd name="connsiteX22" fmla="*/ 2845045 w 3540752"/>
                    <a:gd name="connsiteY22" fmla="*/ 1776591 h 2384648"/>
                    <a:gd name="connsiteX23" fmla="*/ 1860441 w 3540752"/>
                    <a:gd name="connsiteY23" fmla="*/ 1776591 h 2384648"/>
                    <a:gd name="connsiteX24" fmla="*/ 708307 w 3540752"/>
                    <a:gd name="connsiteY24" fmla="*/ 1275642 h 2384648"/>
                    <a:gd name="connsiteX25" fmla="*/ 1593568 w 3540752"/>
                    <a:gd name="connsiteY25" fmla="*/ 1275642 h 2384648"/>
                    <a:gd name="connsiteX26" fmla="*/ 1593568 w 3540752"/>
                    <a:gd name="connsiteY26" fmla="*/ 1275644 h 2384648"/>
                    <a:gd name="connsiteX27" fmla="*/ 1747553 w 3540752"/>
                    <a:gd name="connsiteY27" fmla="*/ 1275644 h 2384648"/>
                    <a:gd name="connsiteX28" fmla="*/ 1747552 w 3540752"/>
                    <a:gd name="connsiteY28" fmla="*/ 1776591 h 2384648"/>
                    <a:gd name="connsiteX29" fmla="*/ 521684 w 3540752"/>
                    <a:gd name="connsiteY29" fmla="*/ 1776591 h 2384648"/>
                    <a:gd name="connsiteX30" fmla="*/ 0 w 3540752"/>
                    <a:gd name="connsiteY30" fmla="*/ 1267177 h 2384648"/>
                    <a:gd name="connsiteX31" fmla="*/ 590992 w 3540752"/>
                    <a:gd name="connsiteY31" fmla="*/ 1267177 h 2384648"/>
                    <a:gd name="connsiteX32" fmla="*/ 401216 w 3540752"/>
                    <a:gd name="connsiteY32" fmla="*/ 1776591 h 2384648"/>
                    <a:gd name="connsiteX33" fmla="*/ 0 w 3540752"/>
                    <a:gd name="connsiteY33" fmla="*/ 1776591 h 2384648"/>
                    <a:gd name="connsiteX34" fmla="*/ 952755 w 3540752"/>
                    <a:gd name="connsiteY34" fmla="*/ 619476 h 2384648"/>
                    <a:gd name="connsiteX35" fmla="*/ 1747553 w 3540752"/>
                    <a:gd name="connsiteY35" fmla="*/ 619476 h 2384648"/>
                    <a:gd name="connsiteX36" fmla="*/ 1747553 w 3540752"/>
                    <a:gd name="connsiteY36" fmla="*/ 1162753 h 2384648"/>
                    <a:gd name="connsiteX37" fmla="*/ 750362 w 3540752"/>
                    <a:gd name="connsiteY37" fmla="*/ 1162753 h 2384648"/>
                    <a:gd name="connsiteX38" fmla="*/ 0 w 3540752"/>
                    <a:gd name="connsiteY38" fmla="*/ 619475 h 2384648"/>
                    <a:gd name="connsiteX39" fmla="*/ 832286 w 3540752"/>
                    <a:gd name="connsiteY39" fmla="*/ 619475 h 2384648"/>
                    <a:gd name="connsiteX40" fmla="*/ 633048 w 3540752"/>
                    <a:gd name="connsiteY40" fmla="*/ 1154288 h 2384648"/>
                    <a:gd name="connsiteX41" fmla="*/ 0 w 3540752"/>
                    <a:gd name="connsiteY41" fmla="*/ 1154288 h 2384648"/>
                    <a:gd name="connsiteX42" fmla="*/ 2845045 w 3540752"/>
                    <a:gd name="connsiteY42" fmla="*/ 397620 h 2384648"/>
                    <a:gd name="connsiteX43" fmla="*/ 2845045 w 3540752"/>
                    <a:gd name="connsiteY43" fmla="*/ 1162755 h 2384648"/>
                    <a:gd name="connsiteX44" fmla="*/ 1860442 w 3540752"/>
                    <a:gd name="connsiteY44" fmla="*/ 1162755 h 2384648"/>
                    <a:gd name="connsiteX45" fmla="*/ 1860442 w 3540752"/>
                    <a:gd name="connsiteY45" fmla="*/ 619476 h 2384648"/>
                    <a:gd name="connsiteX46" fmla="*/ 2116760 w 3540752"/>
                    <a:gd name="connsiteY46" fmla="*/ 619476 h 2384648"/>
                    <a:gd name="connsiteX47" fmla="*/ 2116760 w 3540752"/>
                    <a:gd name="connsiteY47" fmla="*/ 615861 h 2384648"/>
                    <a:gd name="connsiteX48" fmla="*/ 3540752 w 3540752"/>
                    <a:gd name="connsiteY48" fmla="*/ 189142 h 2384648"/>
                    <a:gd name="connsiteX49" fmla="*/ 3540752 w 3540752"/>
                    <a:gd name="connsiteY49" fmla="*/ 1162755 h 2384648"/>
                    <a:gd name="connsiteX50" fmla="*/ 2957934 w 3540752"/>
                    <a:gd name="connsiteY50" fmla="*/ 1162755 h 2384648"/>
                    <a:gd name="connsiteX51" fmla="*/ 2957934 w 3540752"/>
                    <a:gd name="connsiteY51" fmla="*/ 363792 h 2384648"/>
                    <a:gd name="connsiteX52" fmla="*/ 3241567 w 3540752"/>
                    <a:gd name="connsiteY52" fmla="*/ 0 h 2384648"/>
                    <a:gd name="connsiteX53" fmla="*/ 3540752 w 3540752"/>
                    <a:gd name="connsiteY53" fmla="*/ 0 h 2384648"/>
                    <a:gd name="connsiteX54" fmla="*/ 3540752 w 3540752"/>
                    <a:gd name="connsiteY54" fmla="*/ 71294 h 2384648"/>
                    <a:gd name="connsiteX55" fmla="*/ 3241567 w 3540752"/>
                    <a:gd name="connsiteY55" fmla="*/ 160949 h 2384648"/>
                    <a:gd name="connsiteX56" fmla="*/ 2165242 w 3540752"/>
                    <a:gd name="connsiteY56" fmla="*/ 0 h 2384648"/>
                    <a:gd name="connsiteX57" fmla="*/ 3128678 w 3540752"/>
                    <a:gd name="connsiteY57" fmla="*/ 0 h 2384648"/>
                    <a:gd name="connsiteX58" fmla="*/ 3128678 w 3540752"/>
                    <a:gd name="connsiteY58" fmla="*/ 194777 h 2384648"/>
                    <a:gd name="connsiteX59" fmla="*/ 2165242 w 3540752"/>
                    <a:gd name="connsiteY59" fmla="*/ 483483 h 2384648"/>
                    <a:gd name="connsiteX60" fmla="*/ 1183534 w 3540752"/>
                    <a:gd name="connsiteY60" fmla="*/ 0 h 2384648"/>
                    <a:gd name="connsiteX61" fmla="*/ 2052353 w 3540752"/>
                    <a:gd name="connsiteY61" fmla="*/ 0 h 2384648"/>
                    <a:gd name="connsiteX62" fmla="*/ 2052353 w 3540752"/>
                    <a:gd name="connsiteY62" fmla="*/ 506587 h 2384648"/>
                    <a:gd name="connsiteX63" fmla="*/ 994810 w 3540752"/>
                    <a:gd name="connsiteY63" fmla="*/ 506587 h 2384648"/>
                    <a:gd name="connsiteX64" fmla="*/ 0 w 3540752"/>
                    <a:gd name="connsiteY64" fmla="*/ 0 h 2384648"/>
                    <a:gd name="connsiteX65" fmla="*/ 1063065 w 3540752"/>
                    <a:gd name="connsiteY65" fmla="*/ 0 h 2384648"/>
                    <a:gd name="connsiteX66" fmla="*/ 874342 w 3540752"/>
                    <a:gd name="connsiteY66" fmla="*/ 506586 h 2384648"/>
                    <a:gd name="connsiteX67" fmla="*/ 0 w 3540752"/>
                    <a:gd name="connsiteY67" fmla="*/ 506586 h 2384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3540752" h="2384648">
                      <a:moveTo>
                        <a:pt x="2957934" y="1889480"/>
                      </a:moveTo>
                      <a:lnTo>
                        <a:pt x="3540752" y="1889480"/>
                      </a:lnTo>
                      <a:lnTo>
                        <a:pt x="3540752" y="2384648"/>
                      </a:lnTo>
                      <a:lnTo>
                        <a:pt x="2957934" y="2384648"/>
                      </a:lnTo>
                      <a:close/>
                      <a:moveTo>
                        <a:pt x="1860441" y="1889480"/>
                      </a:moveTo>
                      <a:lnTo>
                        <a:pt x="2845045" y="1889480"/>
                      </a:lnTo>
                      <a:lnTo>
                        <a:pt x="2845045" y="2384648"/>
                      </a:lnTo>
                      <a:lnTo>
                        <a:pt x="1860441" y="2384648"/>
                      </a:lnTo>
                      <a:close/>
                      <a:moveTo>
                        <a:pt x="479628" y="1889480"/>
                      </a:moveTo>
                      <a:lnTo>
                        <a:pt x="1747552" y="1889480"/>
                      </a:lnTo>
                      <a:lnTo>
                        <a:pt x="1747552" y="2384648"/>
                      </a:lnTo>
                      <a:lnTo>
                        <a:pt x="295159" y="2384648"/>
                      </a:lnTo>
                      <a:close/>
                      <a:moveTo>
                        <a:pt x="0" y="1889480"/>
                      </a:moveTo>
                      <a:lnTo>
                        <a:pt x="359160" y="1889480"/>
                      </a:lnTo>
                      <a:lnTo>
                        <a:pt x="174690" y="2384648"/>
                      </a:lnTo>
                      <a:lnTo>
                        <a:pt x="0" y="2384648"/>
                      </a:lnTo>
                      <a:close/>
                      <a:moveTo>
                        <a:pt x="2957934" y="1275644"/>
                      </a:moveTo>
                      <a:lnTo>
                        <a:pt x="3540752" y="1275644"/>
                      </a:lnTo>
                      <a:lnTo>
                        <a:pt x="3540752" y="1776591"/>
                      </a:lnTo>
                      <a:lnTo>
                        <a:pt x="2957934" y="1776591"/>
                      </a:lnTo>
                      <a:close/>
                      <a:moveTo>
                        <a:pt x="1860442" y="1275644"/>
                      </a:moveTo>
                      <a:lnTo>
                        <a:pt x="2845045" y="1275644"/>
                      </a:lnTo>
                      <a:lnTo>
                        <a:pt x="2845045" y="1776591"/>
                      </a:lnTo>
                      <a:lnTo>
                        <a:pt x="1860441" y="1776591"/>
                      </a:lnTo>
                      <a:close/>
                      <a:moveTo>
                        <a:pt x="708307" y="1275642"/>
                      </a:moveTo>
                      <a:lnTo>
                        <a:pt x="1593568" y="1275642"/>
                      </a:lnTo>
                      <a:lnTo>
                        <a:pt x="1593568" y="1275644"/>
                      </a:lnTo>
                      <a:lnTo>
                        <a:pt x="1747553" y="1275644"/>
                      </a:lnTo>
                      <a:lnTo>
                        <a:pt x="1747552" y="1776591"/>
                      </a:lnTo>
                      <a:lnTo>
                        <a:pt x="521684" y="1776591"/>
                      </a:lnTo>
                      <a:close/>
                      <a:moveTo>
                        <a:pt x="0" y="1267177"/>
                      </a:moveTo>
                      <a:lnTo>
                        <a:pt x="590992" y="1267177"/>
                      </a:lnTo>
                      <a:lnTo>
                        <a:pt x="401216" y="1776591"/>
                      </a:lnTo>
                      <a:lnTo>
                        <a:pt x="0" y="1776591"/>
                      </a:lnTo>
                      <a:close/>
                      <a:moveTo>
                        <a:pt x="952755" y="619476"/>
                      </a:moveTo>
                      <a:lnTo>
                        <a:pt x="1747553" y="619476"/>
                      </a:lnTo>
                      <a:lnTo>
                        <a:pt x="1747553" y="1162753"/>
                      </a:lnTo>
                      <a:lnTo>
                        <a:pt x="750362" y="1162753"/>
                      </a:lnTo>
                      <a:close/>
                      <a:moveTo>
                        <a:pt x="0" y="619475"/>
                      </a:moveTo>
                      <a:lnTo>
                        <a:pt x="832286" y="619475"/>
                      </a:lnTo>
                      <a:lnTo>
                        <a:pt x="633048" y="1154288"/>
                      </a:lnTo>
                      <a:lnTo>
                        <a:pt x="0" y="1154288"/>
                      </a:lnTo>
                      <a:close/>
                      <a:moveTo>
                        <a:pt x="2845045" y="397620"/>
                      </a:moveTo>
                      <a:lnTo>
                        <a:pt x="2845045" y="1162755"/>
                      </a:lnTo>
                      <a:lnTo>
                        <a:pt x="1860442" y="1162755"/>
                      </a:lnTo>
                      <a:lnTo>
                        <a:pt x="1860442" y="619476"/>
                      </a:lnTo>
                      <a:lnTo>
                        <a:pt x="2116760" y="619476"/>
                      </a:lnTo>
                      <a:lnTo>
                        <a:pt x="2116760" y="615861"/>
                      </a:lnTo>
                      <a:close/>
                      <a:moveTo>
                        <a:pt x="3540752" y="189142"/>
                      </a:moveTo>
                      <a:lnTo>
                        <a:pt x="3540752" y="1162755"/>
                      </a:lnTo>
                      <a:lnTo>
                        <a:pt x="2957934" y="1162755"/>
                      </a:lnTo>
                      <a:lnTo>
                        <a:pt x="2957934" y="363792"/>
                      </a:lnTo>
                      <a:close/>
                      <a:moveTo>
                        <a:pt x="3241567" y="0"/>
                      </a:moveTo>
                      <a:lnTo>
                        <a:pt x="3540752" y="0"/>
                      </a:lnTo>
                      <a:lnTo>
                        <a:pt x="3540752" y="71294"/>
                      </a:lnTo>
                      <a:lnTo>
                        <a:pt x="3241567" y="160949"/>
                      </a:lnTo>
                      <a:close/>
                      <a:moveTo>
                        <a:pt x="2165242" y="0"/>
                      </a:moveTo>
                      <a:lnTo>
                        <a:pt x="3128678" y="0"/>
                      </a:lnTo>
                      <a:lnTo>
                        <a:pt x="3128678" y="194777"/>
                      </a:lnTo>
                      <a:lnTo>
                        <a:pt x="2165242" y="483483"/>
                      </a:lnTo>
                      <a:close/>
                      <a:moveTo>
                        <a:pt x="1183534" y="0"/>
                      </a:moveTo>
                      <a:lnTo>
                        <a:pt x="2052353" y="0"/>
                      </a:lnTo>
                      <a:lnTo>
                        <a:pt x="2052353" y="506587"/>
                      </a:lnTo>
                      <a:lnTo>
                        <a:pt x="994810" y="506587"/>
                      </a:lnTo>
                      <a:close/>
                      <a:moveTo>
                        <a:pt x="0" y="0"/>
                      </a:moveTo>
                      <a:lnTo>
                        <a:pt x="1063065" y="0"/>
                      </a:lnTo>
                      <a:lnTo>
                        <a:pt x="874342" y="506586"/>
                      </a:lnTo>
                      <a:lnTo>
                        <a:pt x="0" y="50658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5" name="Freeform: Shape 104"/>
                <p:cNvSpPr/>
                <p:nvPr/>
              </p:nvSpPr>
              <p:spPr bwMode="auto">
                <a:xfrm>
                  <a:off x="1477010" y="3693160"/>
                  <a:ext cx="286237" cy="425874"/>
                </a:xfrm>
                <a:custGeom>
                  <a:avLst/>
                  <a:gdLst>
                    <a:gd name="connsiteX0" fmla="*/ 338455 w 695960"/>
                    <a:gd name="connsiteY0" fmla="*/ 173990 h 1035474"/>
                    <a:gd name="connsiteX1" fmla="*/ 255905 w 695960"/>
                    <a:gd name="connsiteY1" fmla="*/ 256540 h 1035474"/>
                    <a:gd name="connsiteX2" fmla="*/ 338455 w 695960"/>
                    <a:gd name="connsiteY2" fmla="*/ 339090 h 1035474"/>
                    <a:gd name="connsiteX3" fmla="*/ 421005 w 695960"/>
                    <a:gd name="connsiteY3" fmla="*/ 256540 h 1035474"/>
                    <a:gd name="connsiteX4" fmla="*/ 338455 w 695960"/>
                    <a:gd name="connsiteY4" fmla="*/ 173990 h 1035474"/>
                    <a:gd name="connsiteX5" fmla="*/ 347980 w 695960"/>
                    <a:gd name="connsiteY5" fmla="*/ 0 h 1035474"/>
                    <a:gd name="connsiteX6" fmla="*/ 695960 w 695960"/>
                    <a:gd name="connsiteY6" fmla="*/ 347980 h 1035474"/>
                    <a:gd name="connsiteX7" fmla="*/ 636531 w 695960"/>
                    <a:gd name="connsiteY7" fmla="*/ 542539 h 1035474"/>
                    <a:gd name="connsiteX8" fmla="*/ 620091 w 695960"/>
                    <a:gd name="connsiteY8" fmla="*/ 562465 h 1035474"/>
                    <a:gd name="connsiteX9" fmla="*/ 345440 w 695960"/>
                    <a:gd name="connsiteY9" fmla="*/ 1035474 h 1035474"/>
                    <a:gd name="connsiteX10" fmla="*/ 40640 w 695960"/>
                    <a:gd name="connsiteY10" fmla="*/ 510540 h 1035474"/>
                    <a:gd name="connsiteX11" fmla="*/ 42061 w 695960"/>
                    <a:gd name="connsiteY11" fmla="*/ 510540 h 1035474"/>
                    <a:gd name="connsiteX12" fmla="*/ 27346 w 695960"/>
                    <a:gd name="connsiteY12" fmla="*/ 483430 h 1035474"/>
                    <a:gd name="connsiteX13" fmla="*/ 0 w 695960"/>
                    <a:gd name="connsiteY13" fmla="*/ 347980 h 1035474"/>
                    <a:gd name="connsiteX14" fmla="*/ 347980 w 695960"/>
                    <a:gd name="connsiteY14" fmla="*/ 0 h 1035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95960" h="1035474">
                      <a:moveTo>
                        <a:pt x="338455" y="173990"/>
                      </a:moveTo>
                      <a:cubicBezTo>
                        <a:pt x="292864" y="173990"/>
                        <a:pt x="255905" y="210949"/>
                        <a:pt x="255905" y="256540"/>
                      </a:cubicBezTo>
                      <a:cubicBezTo>
                        <a:pt x="255905" y="302131"/>
                        <a:pt x="292864" y="339090"/>
                        <a:pt x="338455" y="339090"/>
                      </a:cubicBezTo>
                      <a:cubicBezTo>
                        <a:pt x="384046" y="339090"/>
                        <a:pt x="421005" y="302131"/>
                        <a:pt x="421005" y="256540"/>
                      </a:cubicBezTo>
                      <a:cubicBezTo>
                        <a:pt x="421005" y="210949"/>
                        <a:pt x="384046" y="173990"/>
                        <a:pt x="338455" y="173990"/>
                      </a:cubicBezTo>
                      <a:close/>
                      <a:moveTo>
                        <a:pt x="347980" y="0"/>
                      </a:moveTo>
                      <a:cubicBezTo>
                        <a:pt x="540164" y="0"/>
                        <a:pt x="695960" y="155796"/>
                        <a:pt x="695960" y="347980"/>
                      </a:cubicBezTo>
                      <a:cubicBezTo>
                        <a:pt x="695960" y="420049"/>
                        <a:pt x="674051" y="487001"/>
                        <a:pt x="636531" y="542539"/>
                      </a:cubicBezTo>
                      <a:lnTo>
                        <a:pt x="620091" y="562465"/>
                      </a:lnTo>
                      <a:lnTo>
                        <a:pt x="345440" y="1035474"/>
                      </a:lnTo>
                      <a:lnTo>
                        <a:pt x="40640" y="510540"/>
                      </a:lnTo>
                      <a:lnTo>
                        <a:pt x="42061" y="510540"/>
                      </a:lnTo>
                      <a:lnTo>
                        <a:pt x="27346" y="483430"/>
                      </a:lnTo>
                      <a:cubicBezTo>
                        <a:pt x="9738" y="441798"/>
                        <a:pt x="0" y="396026"/>
                        <a:pt x="0" y="347980"/>
                      </a:cubicBezTo>
                      <a:cubicBezTo>
                        <a:pt x="0" y="155796"/>
                        <a:pt x="155796" y="0"/>
                        <a:pt x="347980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6" name="Freeform: Shape 105"/>
                <p:cNvSpPr/>
                <p:nvPr/>
              </p:nvSpPr>
              <p:spPr bwMode="auto">
                <a:xfrm>
                  <a:off x="3940810" y="2289810"/>
                  <a:ext cx="286237" cy="425874"/>
                </a:xfrm>
                <a:custGeom>
                  <a:avLst/>
                  <a:gdLst>
                    <a:gd name="connsiteX0" fmla="*/ 338455 w 695960"/>
                    <a:gd name="connsiteY0" fmla="*/ 173990 h 1035474"/>
                    <a:gd name="connsiteX1" fmla="*/ 255905 w 695960"/>
                    <a:gd name="connsiteY1" fmla="*/ 256540 h 1035474"/>
                    <a:gd name="connsiteX2" fmla="*/ 338455 w 695960"/>
                    <a:gd name="connsiteY2" fmla="*/ 339090 h 1035474"/>
                    <a:gd name="connsiteX3" fmla="*/ 421005 w 695960"/>
                    <a:gd name="connsiteY3" fmla="*/ 256540 h 1035474"/>
                    <a:gd name="connsiteX4" fmla="*/ 338455 w 695960"/>
                    <a:gd name="connsiteY4" fmla="*/ 173990 h 1035474"/>
                    <a:gd name="connsiteX5" fmla="*/ 347980 w 695960"/>
                    <a:gd name="connsiteY5" fmla="*/ 0 h 1035474"/>
                    <a:gd name="connsiteX6" fmla="*/ 695960 w 695960"/>
                    <a:gd name="connsiteY6" fmla="*/ 347980 h 1035474"/>
                    <a:gd name="connsiteX7" fmla="*/ 636531 w 695960"/>
                    <a:gd name="connsiteY7" fmla="*/ 542539 h 1035474"/>
                    <a:gd name="connsiteX8" fmla="*/ 620091 w 695960"/>
                    <a:gd name="connsiteY8" fmla="*/ 562465 h 1035474"/>
                    <a:gd name="connsiteX9" fmla="*/ 345440 w 695960"/>
                    <a:gd name="connsiteY9" fmla="*/ 1035474 h 1035474"/>
                    <a:gd name="connsiteX10" fmla="*/ 40640 w 695960"/>
                    <a:gd name="connsiteY10" fmla="*/ 510540 h 1035474"/>
                    <a:gd name="connsiteX11" fmla="*/ 42061 w 695960"/>
                    <a:gd name="connsiteY11" fmla="*/ 510540 h 1035474"/>
                    <a:gd name="connsiteX12" fmla="*/ 27346 w 695960"/>
                    <a:gd name="connsiteY12" fmla="*/ 483430 h 1035474"/>
                    <a:gd name="connsiteX13" fmla="*/ 0 w 695960"/>
                    <a:gd name="connsiteY13" fmla="*/ 347980 h 1035474"/>
                    <a:gd name="connsiteX14" fmla="*/ 347980 w 695960"/>
                    <a:gd name="connsiteY14" fmla="*/ 0 h 1035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95960" h="1035474">
                      <a:moveTo>
                        <a:pt x="338455" y="173990"/>
                      </a:moveTo>
                      <a:cubicBezTo>
                        <a:pt x="292864" y="173990"/>
                        <a:pt x="255905" y="210949"/>
                        <a:pt x="255905" y="256540"/>
                      </a:cubicBezTo>
                      <a:cubicBezTo>
                        <a:pt x="255905" y="302131"/>
                        <a:pt x="292864" y="339090"/>
                        <a:pt x="338455" y="339090"/>
                      </a:cubicBezTo>
                      <a:cubicBezTo>
                        <a:pt x="384046" y="339090"/>
                        <a:pt x="421005" y="302131"/>
                        <a:pt x="421005" y="256540"/>
                      </a:cubicBezTo>
                      <a:cubicBezTo>
                        <a:pt x="421005" y="210949"/>
                        <a:pt x="384046" y="173990"/>
                        <a:pt x="338455" y="173990"/>
                      </a:cubicBezTo>
                      <a:close/>
                      <a:moveTo>
                        <a:pt x="347980" y="0"/>
                      </a:moveTo>
                      <a:cubicBezTo>
                        <a:pt x="540164" y="0"/>
                        <a:pt x="695960" y="155796"/>
                        <a:pt x="695960" y="347980"/>
                      </a:cubicBezTo>
                      <a:cubicBezTo>
                        <a:pt x="695960" y="420049"/>
                        <a:pt x="674051" y="487001"/>
                        <a:pt x="636531" y="542539"/>
                      </a:cubicBezTo>
                      <a:lnTo>
                        <a:pt x="620091" y="562465"/>
                      </a:lnTo>
                      <a:lnTo>
                        <a:pt x="345440" y="1035474"/>
                      </a:lnTo>
                      <a:lnTo>
                        <a:pt x="40640" y="510540"/>
                      </a:lnTo>
                      <a:lnTo>
                        <a:pt x="42061" y="510540"/>
                      </a:lnTo>
                      <a:lnTo>
                        <a:pt x="27346" y="483430"/>
                      </a:lnTo>
                      <a:cubicBezTo>
                        <a:pt x="9738" y="441798"/>
                        <a:pt x="0" y="396026"/>
                        <a:pt x="0" y="347980"/>
                      </a:cubicBezTo>
                      <a:cubicBezTo>
                        <a:pt x="0" y="155796"/>
                        <a:pt x="155796" y="0"/>
                        <a:pt x="347980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8" name="Freeform: Shape 107"/>
                <p:cNvSpPr/>
                <p:nvPr/>
              </p:nvSpPr>
              <p:spPr bwMode="auto">
                <a:xfrm>
                  <a:off x="1657350" y="2546350"/>
                  <a:ext cx="2597150" cy="1538816"/>
                </a:xfrm>
                <a:custGeom>
                  <a:avLst/>
                  <a:gdLst>
                    <a:gd name="connsiteX0" fmla="*/ 0 w 2597150"/>
                    <a:gd name="connsiteY0" fmla="*/ 1555750 h 1555750"/>
                    <a:gd name="connsiteX1" fmla="*/ 1517650 w 2597150"/>
                    <a:gd name="connsiteY1" fmla="*/ 1555750 h 1555750"/>
                    <a:gd name="connsiteX2" fmla="*/ 1517650 w 2597150"/>
                    <a:gd name="connsiteY2" fmla="*/ 895350 h 1555750"/>
                    <a:gd name="connsiteX3" fmla="*/ 2597150 w 2597150"/>
                    <a:gd name="connsiteY3" fmla="*/ 895350 h 1555750"/>
                    <a:gd name="connsiteX4" fmla="*/ 2597150 w 2597150"/>
                    <a:gd name="connsiteY4" fmla="*/ 0 h 1555750"/>
                    <a:gd name="connsiteX5" fmla="*/ 2444750 w 2597150"/>
                    <a:gd name="connsiteY5" fmla="*/ 76200 h 1555750"/>
                    <a:gd name="connsiteX0" fmla="*/ 0 w 2597150"/>
                    <a:gd name="connsiteY0" fmla="*/ 1555750 h 1555750"/>
                    <a:gd name="connsiteX1" fmla="*/ 1509184 w 2597150"/>
                    <a:gd name="connsiteY1" fmla="*/ 1538816 h 1555750"/>
                    <a:gd name="connsiteX2" fmla="*/ 1517650 w 2597150"/>
                    <a:gd name="connsiteY2" fmla="*/ 895350 h 1555750"/>
                    <a:gd name="connsiteX3" fmla="*/ 2597150 w 2597150"/>
                    <a:gd name="connsiteY3" fmla="*/ 895350 h 1555750"/>
                    <a:gd name="connsiteX4" fmla="*/ 2597150 w 2597150"/>
                    <a:gd name="connsiteY4" fmla="*/ 0 h 1555750"/>
                    <a:gd name="connsiteX5" fmla="*/ 2444750 w 2597150"/>
                    <a:gd name="connsiteY5" fmla="*/ 76200 h 1555750"/>
                    <a:gd name="connsiteX0" fmla="*/ 0 w 2597150"/>
                    <a:gd name="connsiteY0" fmla="*/ 1530350 h 1538816"/>
                    <a:gd name="connsiteX1" fmla="*/ 1509184 w 2597150"/>
                    <a:gd name="connsiteY1" fmla="*/ 1538816 h 1538816"/>
                    <a:gd name="connsiteX2" fmla="*/ 1517650 w 2597150"/>
                    <a:gd name="connsiteY2" fmla="*/ 895350 h 1538816"/>
                    <a:gd name="connsiteX3" fmla="*/ 2597150 w 2597150"/>
                    <a:gd name="connsiteY3" fmla="*/ 895350 h 1538816"/>
                    <a:gd name="connsiteX4" fmla="*/ 2597150 w 2597150"/>
                    <a:gd name="connsiteY4" fmla="*/ 0 h 1538816"/>
                    <a:gd name="connsiteX5" fmla="*/ 2444750 w 2597150"/>
                    <a:gd name="connsiteY5" fmla="*/ 76200 h 1538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97150" h="1538816">
                      <a:moveTo>
                        <a:pt x="0" y="1530350"/>
                      </a:moveTo>
                      <a:lnTo>
                        <a:pt x="1509184" y="1538816"/>
                      </a:lnTo>
                      <a:lnTo>
                        <a:pt x="1517650" y="895350"/>
                      </a:lnTo>
                      <a:lnTo>
                        <a:pt x="2597150" y="895350"/>
                      </a:lnTo>
                      <a:lnTo>
                        <a:pt x="2597150" y="0"/>
                      </a:lnTo>
                      <a:lnTo>
                        <a:pt x="2444750" y="76200"/>
                      </a:lnTo>
                    </a:path>
                  </a:pathLst>
                </a:custGeom>
                <a:noFill/>
                <a:ln>
                  <a:solidFill>
                    <a:schemeClr val="tx1"/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8762">
                    <a:defRPr/>
                  </a:pPr>
                  <a:endParaRPr lang="en-US" sz="240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59346EB-1F9E-4A9D-A778-7E67BC45B266}"/>
              </a:ext>
            </a:extLst>
          </p:cNvPr>
          <p:cNvGrpSpPr/>
          <p:nvPr/>
        </p:nvGrpSpPr>
        <p:grpSpPr>
          <a:xfrm>
            <a:off x="2748577" y="1249169"/>
            <a:ext cx="2218314" cy="519783"/>
            <a:chOff x="2748101" y="1248859"/>
            <a:chExt cx="2218629" cy="519857"/>
          </a:xfrm>
          <a:solidFill>
            <a:schemeClr val="accent3"/>
          </a:solidFill>
        </p:grpSpPr>
        <p:sp>
          <p:nvSpPr>
            <p:cNvPr id="71" name="Freeform 83"/>
            <p:cNvSpPr/>
            <p:nvPr/>
          </p:nvSpPr>
          <p:spPr bwMode="auto">
            <a:xfrm>
              <a:off x="2748101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peech</a:t>
              </a:r>
            </a:p>
          </p:txBody>
        </p:sp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9C39CD7E-7A6A-44BD-A889-AF223305F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14962" y="1248859"/>
              <a:ext cx="519857" cy="519857"/>
            </a:xfrm>
            <a:prstGeom prst="rect">
              <a:avLst/>
            </a:prstGeom>
            <a:noFill/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295A720-7BF4-4961-B4B6-5CAB6F0A4852}"/>
              </a:ext>
            </a:extLst>
          </p:cNvPr>
          <p:cNvGrpSpPr/>
          <p:nvPr/>
        </p:nvGrpSpPr>
        <p:grpSpPr>
          <a:xfrm>
            <a:off x="585452" y="1296064"/>
            <a:ext cx="6641593" cy="5005581"/>
            <a:chOff x="584669" y="1295761"/>
            <a:chExt cx="6642535" cy="5006291"/>
          </a:xfrm>
        </p:grpSpPr>
        <p:sp>
          <p:nvSpPr>
            <p:cNvPr id="51" name="Rectangle 50"/>
            <p:cNvSpPr/>
            <p:nvPr/>
          </p:nvSpPr>
          <p:spPr bwMode="auto">
            <a:xfrm>
              <a:off x="5008575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7" name="Oval Callout 6"/>
            <p:cNvSpPr/>
            <p:nvPr/>
          </p:nvSpPr>
          <p:spPr bwMode="auto">
            <a:xfrm>
              <a:off x="5800725" y="1915078"/>
              <a:ext cx="1220769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Play today’s customer call recording</a:t>
              </a:r>
            </a:p>
          </p:txBody>
        </p:sp>
        <p:sp>
          <p:nvSpPr>
            <p:cNvPr id="54" name="Pentagon 53"/>
            <p:cNvSpPr/>
            <p:nvPr/>
          </p:nvSpPr>
          <p:spPr bwMode="auto">
            <a:xfrm rot="5400000">
              <a:off x="5929292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Language Understanding</a:t>
              </a: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5338208" y="4700874"/>
              <a:ext cx="1656137" cy="926427"/>
              <a:chOff x="3964499" y="3921129"/>
              <a:chExt cx="1242279" cy="694918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4428696" y="3921129"/>
                <a:ext cx="259565" cy="259565"/>
                <a:chOff x="7340830" y="-949453"/>
                <a:chExt cx="1047750" cy="1047750"/>
              </a:xfrm>
            </p:grpSpPr>
            <p:sp>
              <p:nvSpPr>
                <p:cNvPr id="19" name="Isosceles Triangle 18"/>
                <p:cNvSpPr/>
                <p:nvPr/>
              </p:nvSpPr>
              <p:spPr bwMode="auto">
                <a:xfrm rot="5400000">
                  <a:off x="7641336" y="-618134"/>
                  <a:ext cx="446735" cy="385116"/>
                </a:xfrm>
                <a:prstGeom prst="triangle">
                  <a:avLst/>
                </a:prstGeom>
                <a:noFill/>
                <a:ln w="19050" cap="rnd">
                  <a:solidFill>
                    <a:schemeClr val="accent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137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" name="Oval 19"/>
                <p:cNvSpPr/>
                <p:nvPr/>
              </p:nvSpPr>
              <p:spPr bwMode="auto">
                <a:xfrm>
                  <a:off x="7340830" y="-949453"/>
                  <a:ext cx="1047750" cy="1047750"/>
                </a:xfrm>
                <a:prstGeom prst="ellipse">
                  <a:avLst/>
                </a:prstGeom>
                <a:noFill/>
                <a:ln w="19050">
                  <a:solidFill>
                    <a:schemeClr val="accent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137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1" name="TextBox 20"/>
              <p:cNvSpPr txBox="1"/>
              <p:nvPr/>
            </p:nvSpPr>
            <p:spPr>
              <a:xfrm>
                <a:off x="4297966" y="4291110"/>
                <a:ext cx="585663" cy="1142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defTabSz="932563">
                  <a:lnSpc>
                    <a:spcPct val="90000"/>
                  </a:lnSpc>
                  <a:spcAft>
                    <a:spcPts val="574"/>
                  </a:spcAft>
                  <a:defRPr/>
                </a:pPr>
                <a:r>
                  <a:rPr lang="en-US" sz="1100" dirty="0">
                    <a:gradFill>
                      <a:gsLst>
                        <a:gs pos="70732">
                          <a:srgbClr val="3F3F3F"/>
                        </a:gs>
                        <a:gs pos="50000">
                          <a:srgbClr val="3F3F3F"/>
                        </a:gs>
                      </a:gsLst>
                      <a:lin ang="5400000" scaled="1"/>
                    </a:gradFill>
                    <a:latin typeface="Segoe UI"/>
                    <a:cs typeface="Segoe UI" panose="020B0502040204020203" pitchFamily="34" charset="0"/>
                  </a:rPr>
                  <a:t>Now Playing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3964499" y="4501753"/>
                <a:ext cx="1242279" cy="1142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defTabSz="932563">
                  <a:lnSpc>
                    <a:spcPct val="90000"/>
                  </a:lnSpc>
                  <a:spcAft>
                    <a:spcPts val="574"/>
                  </a:spcAft>
                  <a:defRPr/>
                </a:pPr>
                <a:r>
                  <a:rPr lang="en-US" sz="1100">
                    <a:gradFill>
                      <a:gsLst>
                        <a:gs pos="70732">
                          <a:srgbClr val="3F3F3F"/>
                        </a:gs>
                        <a:gs pos="50000">
                          <a:srgbClr val="3F3F3F"/>
                        </a:gs>
                      </a:gsLst>
                      <a:lin ang="5400000" scaled="1"/>
                    </a:gradFill>
                    <a:latin typeface="Segoe UI"/>
                    <a:cs typeface="Segoe UI" panose="020B0502040204020203" pitchFamily="34" charset="0"/>
                  </a:rPr>
                  <a:t>11/29/2016 Customer Call </a:t>
                </a:r>
              </a:p>
            </p:txBody>
          </p:sp>
        </p:grpSp>
        <p:sp>
          <p:nvSpPr>
            <p:cNvPr id="114" name="Pentagon 53"/>
            <p:cNvSpPr/>
            <p:nvPr/>
          </p:nvSpPr>
          <p:spPr bwMode="auto">
            <a:xfrm>
              <a:off x="5157665" y="3167162"/>
              <a:ext cx="1919410" cy="15239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lvl="1" algn="ctr"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Natural Language Processing</a:t>
              </a:r>
            </a:p>
          </p:txBody>
        </p:sp>
        <p:sp>
          <p:nvSpPr>
            <p:cNvPr id="115" name="TextBox 7"/>
            <p:cNvSpPr txBox="1"/>
            <p:nvPr/>
          </p:nvSpPr>
          <p:spPr>
            <a:xfrm>
              <a:off x="5125341" y="3774845"/>
              <a:ext cx="2022731" cy="826125"/>
            </a:xfrm>
            <a:prstGeom prst="rect">
              <a:avLst/>
            </a:prstGeom>
            <a:noFill/>
            <a:ln w="25400">
              <a:solidFill>
                <a:srgbClr val="6E6E73">
                  <a:lumMod val="20000"/>
                  <a:lumOff val="80000"/>
                </a:srgbClr>
              </a:solidFill>
            </a:ln>
          </p:spPr>
          <p:txBody>
            <a:bodyPr wrap="square" lIns="175686" tIns="140549" rIns="175686" bIns="140549" rtlCol="0">
              <a:spAutoFit/>
            </a:bodyPr>
            <a:lstStyle/>
            <a:p>
              <a:pPr marL="0" lvl="1" defTabSz="895900">
                <a:defRPr/>
              </a:pPr>
              <a:r>
                <a:rPr lang="en-US" sz="1174" kern="0">
                  <a:solidFill>
                    <a:sysClr val="windowText" lastClr="000000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Intent: </a:t>
              </a:r>
              <a:r>
                <a:rPr lang="en-US" sz="1174" kern="0" err="1">
                  <a:solidFill>
                    <a:sysClr val="windowText" lastClr="000000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PlayCall</a:t>
              </a:r>
              <a:endParaRPr lang="en-US" sz="1174" kern="0">
                <a:solidFill>
                  <a:sysClr val="windowText" lastClr="000000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  <a:p>
              <a:pPr marL="0" lvl="1" defTabSz="895900">
                <a:defRPr/>
              </a:pPr>
              <a:r>
                <a:rPr lang="en-US" sz="1174" b="1" kern="0">
                  <a:gradFill>
                    <a:gsLst>
                      <a:gs pos="83582">
                        <a:srgbClr val="0078D7"/>
                      </a:gs>
                      <a:gs pos="62000">
                        <a:srgbClr val="0078D7"/>
                      </a:gs>
                    </a:gsLst>
                    <a:lin ang="5400000" scaled="0"/>
                  </a:gradFill>
                  <a:latin typeface="Consolas" panose="020B0609020204030204" pitchFamily="49" charset="0"/>
                  <a:cs typeface="Consolas" panose="020B0609020204030204" pitchFamily="49" charset="0"/>
                </a:rPr>
                <a:t>Content: Customer#</a:t>
              </a:r>
            </a:p>
            <a:p>
              <a:pPr marL="0" lvl="1" defTabSz="895900">
                <a:defRPr/>
              </a:pPr>
              <a:r>
                <a:rPr lang="en-US" sz="1174" b="1" kern="0" err="1">
                  <a:gradFill>
                    <a:gsLst>
                      <a:gs pos="6716">
                        <a:srgbClr val="D83B01"/>
                      </a:gs>
                      <a:gs pos="47000">
                        <a:srgbClr val="D83B01"/>
                      </a:gs>
                    </a:gsLst>
                    <a:lin ang="5400000" scaled="0"/>
                  </a:gradFill>
                  <a:latin typeface="Consolas" panose="020B0609020204030204" pitchFamily="49" charset="0"/>
                  <a:cs typeface="Consolas" panose="020B0609020204030204" pitchFamily="49" charset="0"/>
                </a:rPr>
                <a:t>DateTime.date</a:t>
              </a:r>
              <a:r>
                <a:rPr lang="en-US" sz="1174" b="1" kern="0">
                  <a:gradFill>
                    <a:gsLst>
                      <a:gs pos="6716">
                        <a:srgbClr val="D83B01"/>
                      </a:gs>
                      <a:gs pos="47000">
                        <a:srgbClr val="D83B01"/>
                      </a:gs>
                    </a:gsLst>
                    <a:lin ang="5400000" scaled="0"/>
                  </a:gradFill>
                  <a:latin typeface="Consolas" panose="020B0609020204030204" pitchFamily="49" charset="0"/>
                  <a:cs typeface="Consolas" panose="020B0609020204030204" pitchFamily="49" charset="0"/>
                </a:rPr>
                <a:t>: today</a:t>
              </a:r>
            </a:p>
          </p:txBody>
        </p:sp>
        <p:sp>
          <p:nvSpPr>
            <p:cNvPr id="84" name="Pentagon 53">
              <a:extLst>
                <a:ext uri="{FF2B5EF4-FFF2-40B4-BE49-F238E27FC236}">
                  <a16:creationId xmlns:a16="http://schemas.microsoft.com/office/drawing/2014/main" id="{446EE46E-68C1-462D-A535-AD78B1D983CD}"/>
                </a:ext>
              </a:extLst>
            </p:cNvPr>
            <p:cNvSpPr/>
            <p:nvPr/>
          </p:nvSpPr>
          <p:spPr bwMode="auto">
            <a:xfrm>
              <a:off x="2859820" y="3167173"/>
              <a:ext cx="1919410" cy="15237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lvl="1" algn="ctr"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Speech to text</a:t>
              </a:r>
            </a:p>
          </p:txBody>
        </p:sp>
        <p:sp>
          <p:nvSpPr>
            <p:cNvPr id="85" name="Pentagon 53">
              <a:extLst>
                <a:ext uri="{FF2B5EF4-FFF2-40B4-BE49-F238E27FC236}">
                  <a16:creationId xmlns:a16="http://schemas.microsoft.com/office/drawing/2014/main" id="{A0FCFCE5-9B91-4B2A-AD0A-054DA5AA0348}"/>
                </a:ext>
              </a:extLst>
            </p:cNvPr>
            <p:cNvSpPr/>
            <p:nvPr/>
          </p:nvSpPr>
          <p:spPr bwMode="auto">
            <a:xfrm>
              <a:off x="584669" y="3167173"/>
              <a:ext cx="1919410" cy="15237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lvl="1" algn="ctr"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Intelligent Image insight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F5C78FA-925A-4A86-A6E7-9B2F5302483B}"/>
              </a:ext>
            </a:extLst>
          </p:cNvPr>
          <p:cNvGrpSpPr/>
          <p:nvPr/>
        </p:nvGrpSpPr>
        <p:grpSpPr>
          <a:xfrm>
            <a:off x="5008730" y="1225160"/>
            <a:ext cx="2218314" cy="567800"/>
            <a:chOff x="5008575" y="1224846"/>
            <a:chExt cx="2218629" cy="567881"/>
          </a:xfrm>
          <a:solidFill>
            <a:schemeClr val="accent3"/>
          </a:solidFill>
        </p:grpSpPr>
        <p:sp>
          <p:nvSpPr>
            <p:cNvPr id="73" name="Freeform 118"/>
            <p:cNvSpPr/>
            <p:nvPr/>
          </p:nvSpPr>
          <p:spPr bwMode="auto">
            <a:xfrm>
              <a:off x="5008575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nguage</a:t>
              </a:r>
            </a:p>
          </p:txBody>
        </p: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92D8972E-5205-4392-8A1D-EDE03B2E1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0507" y="1224846"/>
              <a:ext cx="573859" cy="567881"/>
            </a:xfrm>
            <a:prstGeom prst="rect">
              <a:avLst/>
            </a:prstGeom>
            <a:noFill/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91D67C-CCFF-470A-9919-5BEC3E6139E0}"/>
              </a:ext>
            </a:extLst>
          </p:cNvPr>
          <p:cNvGrpSpPr/>
          <p:nvPr/>
        </p:nvGrpSpPr>
        <p:grpSpPr>
          <a:xfrm>
            <a:off x="7268880" y="1296064"/>
            <a:ext cx="2218315" cy="5005581"/>
            <a:chOff x="7269046" y="1295761"/>
            <a:chExt cx="2218630" cy="5006291"/>
          </a:xfrm>
        </p:grpSpPr>
        <p:sp>
          <p:nvSpPr>
            <p:cNvPr id="82" name="Rectangle 81"/>
            <p:cNvSpPr/>
            <p:nvPr/>
          </p:nvSpPr>
          <p:spPr bwMode="auto">
            <a:xfrm>
              <a:off x="7269046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6" name="Oval Callout 6"/>
            <p:cNvSpPr/>
            <p:nvPr/>
          </p:nvSpPr>
          <p:spPr bwMode="auto">
            <a:xfrm>
              <a:off x="8051801" y="1915078"/>
              <a:ext cx="1386366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 err="1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QnA</a:t>
              </a: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 Pair </a:t>
              </a:r>
              <a:b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</a:b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of this site?</a:t>
              </a:r>
            </a:p>
          </p:txBody>
        </p:sp>
        <p:sp>
          <p:nvSpPr>
            <p:cNvPr id="87" name="Pentagon 86"/>
            <p:cNvSpPr/>
            <p:nvPr/>
          </p:nvSpPr>
          <p:spPr bwMode="auto">
            <a:xfrm rot="5400000">
              <a:off x="8189764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 err="1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QnA</a:t>
              </a: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 Maker</a:t>
              </a:r>
            </a:p>
          </p:txBody>
        </p:sp>
        <p:sp>
          <p:nvSpPr>
            <p:cNvPr id="89" name="TextBox 7"/>
            <p:cNvSpPr txBox="1"/>
            <p:nvPr/>
          </p:nvSpPr>
          <p:spPr>
            <a:xfrm>
              <a:off x="7363472" y="3178852"/>
              <a:ext cx="1673773" cy="30474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lvl="1" defTabSz="895537">
                <a:lnSpc>
                  <a:spcPct val="90000"/>
                </a:lnSpc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Automatic extraction </a:t>
              </a:r>
              <a:b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</a:b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of questions and answer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B9DC430-4802-4692-84A8-766FCDCD6B45}"/>
              </a:ext>
            </a:extLst>
          </p:cNvPr>
          <p:cNvGrpSpPr/>
          <p:nvPr/>
        </p:nvGrpSpPr>
        <p:grpSpPr>
          <a:xfrm>
            <a:off x="7268880" y="1273357"/>
            <a:ext cx="2218314" cy="517978"/>
            <a:chOff x="7269046" y="1273050"/>
            <a:chExt cx="2218629" cy="518052"/>
          </a:xfrm>
          <a:solidFill>
            <a:schemeClr val="accent3"/>
          </a:solidFill>
        </p:grpSpPr>
        <p:sp>
          <p:nvSpPr>
            <p:cNvPr id="77" name="Freeform 117"/>
            <p:cNvSpPr/>
            <p:nvPr/>
          </p:nvSpPr>
          <p:spPr bwMode="auto">
            <a:xfrm>
              <a:off x="7269046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nowledge</a:t>
              </a:r>
            </a:p>
          </p:txBody>
        </p:sp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22E2DE7C-C155-4B91-B98D-0B1DC52E6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66730" y="1273050"/>
              <a:ext cx="520945" cy="518052"/>
            </a:xfrm>
            <a:prstGeom prst="rect">
              <a:avLst/>
            </a:prstGeom>
            <a:noFill/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F5793B-D1F0-4CC0-9EA1-9AB6E4700FA7}"/>
              </a:ext>
            </a:extLst>
          </p:cNvPr>
          <p:cNvGrpSpPr/>
          <p:nvPr/>
        </p:nvGrpSpPr>
        <p:grpSpPr>
          <a:xfrm>
            <a:off x="9529031" y="1296064"/>
            <a:ext cx="2218314" cy="5005581"/>
            <a:chOff x="9529517" y="1295761"/>
            <a:chExt cx="2218629" cy="5006291"/>
          </a:xfrm>
        </p:grpSpPr>
        <p:sp>
          <p:nvSpPr>
            <p:cNvPr id="60" name="Rectangle 59"/>
            <p:cNvSpPr/>
            <p:nvPr/>
          </p:nvSpPr>
          <p:spPr bwMode="auto">
            <a:xfrm>
              <a:off x="9529517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64" name="Oval Callout 6"/>
            <p:cNvSpPr/>
            <p:nvPr/>
          </p:nvSpPr>
          <p:spPr bwMode="auto">
            <a:xfrm>
              <a:off x="10335284" y="1915078"/>
              <a:ext cx="1297915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Search for ‘fraud prevention’ </a:t>
              </a:r>
            </a:p>
          </p:txBody>
        </p:sp>
        <p:sp>
          <p:nvSpPr>
            <p:cNvPr id="65" name="Pentagon 64"/>
            <p:cNvSpPr/>
            <p:nvPr/>
          </p:nvSpPr>
          <p:spPr bwMode="auto">
            <a:xfrm rot="5400000">
              <a:off x="10450234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Bing News Search</a:t>
              </a:r>
            </a:p>
          </p:txBody>
        </p:sp>
        <p:sp>
          <p:nvSpPr>
            <p:cNvPr id="107" name="TextBox 7"/>
            <p:cNvSpPr txBox="1"/>
            <p:nvPr/>
          </p:nvSpPr>
          <p:spPr>
            <a:xfrm>
              <a:off x="9663679" y="3165269"/>
              <a:ext cx="1462147" cy="15237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lvl="1" defTabSz="895537">
                <a:lnSpc>
                  <a:spcPct val="90000"/>
                </a:lnSpc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Intelligent web search</a:t>
              </a:r>
            </a:p>
          </p:txBody>
        </p:sp>
        <p:sp>
          <p:nvSpPr>
            <p:cNvPr id="117" name="Rectangle 116"/>
            <p:cNvSpPr/>
            <p:nvPr/>
          </p:nvSpPr>
          <p:spPr bwMode="auto">
            <a:xfrm>
              <a:off x="9999370" y="3458042"/>
              <a:ext cx="1697727" cy="556824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800" dirty="0">
                  <a:gradFill>
                    <a:gsLst>
                      <a:gs pos="4000">
                        <a:srgbClr val="0078D7"/>
                      </a:gs>
                      <a:gs pos="15000">
                        <a:srgbClr val="0078D7"/>
                      </a:gs>
                    </a:gsLst>
                    <a:lin ang="54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formation Communications  Media Market News</a:t>
              </a:r>
            </a:p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It also investigates the top three expected </a:t>
              </a:r>
              <a:r>
                <a:rPr lang="en-US" sz="600" b="1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Fraud</a:t>
              </a: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 Detection and </a:t>
              </a:r>
              <a:r>
                <a:rPr lang="en-US" sz="600" b="1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Prevention</a:t>
              </a: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 programs, in terms of demand in key markets…</a:t>
              </a:r>
            </a:p>
          </p:txBody>
        </p:sp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12"/>
            <a:srcRect l="845" t="1241" r="88392" b="81775"/>
            <a:stretch/>
          </p:blipFill>
          <p:spPr>
            <a:xfrm>
              <a:off x="9580984" y="3458042"/>
              <a:ext cx="422013" cy="557882"/>
            </a:xfrm>
            <a:prstGeom prst="rect">
              <a:avLst/>
            </a:prstGeom>
            <a:ln w="6350">
              <a:solidFill>
                <a:schemeClr val="bg2">
                  <a:lumMod val="85000"/>
                </a:schemeClr>
              </a:solidFill>
            </a:ln>
          </p:spPr>
        </p:pic>
        <p:sp>
          <p:nvSpPr>
            <p:cNvPr id="120" name="Rectangle 119"/>
            <p:cNvSpPr/>
            <p:nvPr/>
          </p:nvSpPr>
          <p:spPr bwMode="auto">
            <a:xfrm>
              <a:off x="9999370" y="4130613"/>
              <a:ext cx="1697727" cy="56792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800" dirty="0">
                  <a:gradFill>
                    <a:gsLst>
                      <a:gs pos="4000">
                        <a:srgbClr val="0078D7"/>
                      </a:gs>
                      <a:gs pos="15000">
                        <a:srgbClr val="0078D7"/>
                      </a:gs>
                    </a:gsLst>
                    <a:lin ang="54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he Big Question: In-House or Outsourced Fraud Protection?</a:t>
              </a:r>
            </a:p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First, let’s point out that there is not one absolute answer—there are “pros” and “cons” </a:t>
              </a:r>
              <a:b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</a:b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to each. Those who favor in-house…</a:t>
              </a:r>
            </a:p>
          </p:txBody>
        </p:sp>
        <p:pic>
          <p:nvPicPr>
            <p:cNvPr id="121" name="Picture 120"/>
            <p:cNvPicPr>
              <a:picLocks noChangeAspect="1"/>
            </p:cNvPicPr>
            <p:nvPr/>
          </p:nvPicPr>
          <p:blipFill rotWithShape="1">
            <a:blip r:embed="rId12"/>
            <a:srcRect l="844" t="22054" r="89166" b="61662"/>
            <a:stretch/>
          </p:blipFill>
          <p:spPr>
            <a:xfrm>
              <a:off x="9580984" y="4130614"/>
              <a:ext cx="417433" cy="569960"/>
            </a:xfrm>
            <a:prstGeom prst="rect">
              <a:avLst/>
            </a:prstGeom>
            <a:ln w="6350">
              <a:solidFill>
                <a:schemeClr val="bg2">
                  <a:lumMod val="85000"/>
                </a:schemeClr>
              </a:solidFill>
            </a:ln>
          </p:spPr>
        </p:pic>
        <p:sp>
          <p:nvSpPr>
            <p:cNvPr id="122" name="Rectangle 121"/>
            <p:cNvSpPr/>
            <p:nvPr/>
          </p:nvSpPr>
          <p:spPr bwMode="auto">
            <a:xfrm>
              <a:off x="9998417" y="4803186"/>
              <a:ext cx="1698680" cy="56996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800" dirty="0">
                  <a:gradFill>
                    <a:gsLst>
                      <a:gs pos="4000">
                        <a:srgbClr val="0078D7"/>
                      </a:gs>
                      <a:gs pos="15000">
                        <a:srgbClr val="0078D7"/>
                      </a:gs>
                    </a:gsLst>
                    <a:lin ang="5400000" scaled="1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How to Protect Your Business from Online Fraud this Holiday Season</a:t>
              </a:r>
            </a:p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Michael heads fraud prevention tool. Online </a:t>
              </a:r>
              <a:b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</a:b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and mobile shopping are expected to continue growing apace…</a:t>
              </a:r>
            </a:p>
          </p:txBody>
        </p:sp>
        <p:pic>
          <p:nvPicPr>
            <p:cNvPr id="123" name="Picture 122"/>
            <p:cNvPicPr>
              <a:picLocks noChangeAspect="1"/>
            </p:cNvPicPr>
            <p:nvPr/>
          </p:nvPicPr>
          <p:blipFill rotWithShape="1">
            <a:blip r:embed="rId12"/>
            <a:srcRect l="4065" t="62663" r="85945" b="21053"/>
            <a:stretch/>
          </p:blipFill>
          <p:spPr>
            <a:xfrm>
              <a:off x="9580984" y="4803186"/>
              <a:ext cx="417433" cy="569960"/>
            </a:xfrm>
            <a:prstGeom prst="rect">
              <a:avLst/>
            </a:prstGeom>
            <a:ln w="6350">
              <a:solidFill>
                <a:schemeClr val="bg2">
                  <a:lumMod val="85000"/>
                </a:schemeClr>
              </a:solidFill>
            </a:ln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23E73CA-2CBC-462F-85F7-9E07A0AA800A}"/>
              </a:ext>
            </a:extLst>
          </p:cNvPr>
          <p:cNvGrpSpPr/>
          <p:nvPr/>
        </p:nvGrpSpPr>
        <p:grpSpPr>
          <a:xfrm>
            <a:off x="9529031" y="1187941"/>
            <a:ext cx="2299769" cy="649442"/>
            <a:chOff x="9529517" y="1187622"/>
            <a:chExt cx="2300095" cy="649534"/>
          </a:xfrm>
          <a:solidFill>
            <a:schemeClr val="accent3"/>
          </a:solidFill>
        </p:grpSpPr>
        <p:sp>
          <p:nvSpPr>
            <p:cNvPr id="83" name="Freeform 97"/>
            <p:cNvSpPr/>
            <p:nvPr/>
          </p:nvSpPr>
          <p:spPr bwMode="auto">
            <a:xfrm>
              <a:off x="9529517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arch</a:t>
              </a:r>
            </a:p>
          </p:txBody>
        </p:sp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A3BBDE4D-9328-4813-9964-AFDBEE799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0078" y="1187622"/>
              <a:ext cx="649534" cy="649534"/>
            </a:xfrm>
            <a:prstGeom prst="rect">
              <a:avLst/>
            </a:prstGeom>
            <a:noFill/>
          </p:spPr>
        </p:pic>
      </p:grpSp>
      <p:sp>
        <p:nvSpPr>
          <p:cNvPr id="101" name="speech_2">
            <a:extLst>
              <a:ext uri="{FF2B5EF4-FFF2-40B4-BE49-F238E27FC236}">
                <a16:creationId xmlns:a16="http://schemas.microsoft.com/office/drawing/2014/main" id="{70D6585B-3D52-4BED-8DF7-B8F5DE69A7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4040" y="2037408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24" name="speech_2">
            <a:extLst>
              <a:ext uri="{FF2B5EF4-FFF2-40B4-BE49-F238E27FC236}">
                <a16:creationId xmlns:a16="http://schemas.microsoft.com/office/drawing/2014/main" id="{76FDF5A3-A12A-4FFC-A80E-F5214C66A98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87706" y="2032646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27" name="speech_2">
            <a:extLst>
              <a:ext uri="{FF2B5EF4-FFF2-40B4-BE49-F238E27FC236}">
                <a16:creationId xmlns:a16="http://schemas.microsoft.com/office/drawing/2014/main" id="{77A4BCF8-3147-4FEE-8785-0D7F10F2B69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37554" y="2037408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30" name="speech_2">
            <a:extLst>
              <a:ext uri="{FF2B5EF4-FFF2-40B4-BE49-F238E27FC236}">
                <a16:creationId xmlns:a16="http://schemas.microsoft.com/office/drawing/2014/main" id="{E0392146-F6D4-4EAE-A4C2-32E29616140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03276" y="2037408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8196353-E5AF-4679-9F0A-B541719F9F51}"/>
              </a:ext>
            </a:extLst>
          </p:cNvPr>
          <p:cNvGrpSpPr/>
          <p:nvPr/>
        </p:nvGrpSpPr>
        <p:grpSpPr>
          <a:xfrm>
            <a:off x="2887064" y="2024709"/>
            <a:ext cx="932785" cy="2093903"/>
            <a:chOff x="2886608" y="2024510"/>
            <a:chExt cx="932917" cy="2094200"/>
          </a:xfrm>
        </p:grpSpPr>
        <p:sp>
          <p:nvSpPr>
            <p:cNvPr id="111" name="speech_2">
              <a:extLst>
                <a:ext uri="{FF2B5EF4-FFF2-40B4-BE49-F238E27FC236}">
                  <a16:creationId xmlns:a16="http://schemas.microsoft.com/office/drawing/2014/main" id="{938B8581-647F-4794-98A4-EA73D5FDA24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886608" y="2024510"/>
              <a:ext cx="365760" cy="324931"/>
            </a:xfrm>
            <a:custGeom>
              <a:avLst/>
              <a:gdLst>
                <a:gd name="T0" fmla="*/ 122 w 215"/>
                <a:gd name="T1" fmla="*/ 145 h 191"/>
                <a:gd name="T2" fmla="*/ 76 w 215"/>
                <a:gd name="T3" fmla="*/ 145 h 191"/>
                <a:gd name="T4" fmla="*/ 31 w 215"/>
                <a:gd name="T5" fmla="*/ 191 h 191"/>
                <a:gd name="T6" fmla="*/ 31 w 215"/>
                <a:gd name="T7" fmla="*/ 145 h 191"/>
                <a:gd name="T8" fmla="*/ 0 w 215"/>
                <a:gd name="T9" fmla="*/ 145 h 191"/>
                <a:gd name="T10" fmla="*/ 0 w 215"/>
                <a:gd name="T11" fmla="*/ 0 h 191"/>
                <a:gd name="T12" fmla="*/ 215 w 215"/>
                <a:gd name="T13" fmla="*/ 0 h 191"/>
                <a:gd name="T14" fmla="*/ 215 w 215"/>
                <a:gd name="T15" fmla="*/ 120 h 191"/>
                <a:gd name="T16" fmla="*/ 122 w 215"/>
                <a:gd name="T17" fmla="*/ 145 h 191"/>
                <a:gd name="T18" fmla="*/ 122 w 215"/>
                <a:gd name="T19" fmla="*/ 145 h 191"/>
                <a:gd name="T20" fmla="*/ 122 w 215"/>
                <a:gd name="T21" fmla="*/ 145 h 191"/>
                <a:gd name="T22" fmla="*/ 215 w 215"/>
                <a:gd name="T23" fmla="*/ 145 h 191"/>
                <a:gd name="T24" fmla="*/ 215 w 215"/>
                <a:gd name="T25" fmla="*/ 1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191">
                  <a:moveTo>
                    <a:pt x="122" y="145"/>
                  </a:moveTo>
                  <a:lnTo>
                    <a:pt x="76" y="145"/>
                  </a:lnTo>
                  <a:lnTo>
                    <a:pt x="31" y="191"/>
                  </a:lnTo>
                  <a:lnTo>
                    <a:pt x="31" y="145"/>
                  </a:lnTo>
                  <a:lnTo>
                    <a:pt x="0" y="145"/>
                  </a:lnTo>
                  <a:lnTo>
                    <a:pt x="0" y="0"/>
                  </a:lnTo>
                  <a:lnTo>
                    <a:pt x="215" y="0"/>
                  </a:lnTo>
                  <a:lnTo>
                    <a:pt x="215" y="120"/>
                  </a:lnTo>
                  <a:moveTo>
                    <a:pt x="122" y="145"/>
                  </a:moveTo>
                  <a:lnTo>
                    <a:pt x="122" y="145"/>
                  </a:lnTo>
                  <a:moveTo>
                    <a:pt x="122" y="145"/>
                  </a:moveTo>
                  <a:lnTo>
                    <a:pt x="215" y="145"/>
                  </a:lnTo>
                  <a:lnTo>
                    <a:pt x="215" y="120"/>
                  </a:lnTo>
                </a:path>
              </a:pathLst>
            </a:custGeom>
            <a:noFill/>
            <a:ln w="1905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  <p:sp>
          <p:nvSpPr>
            <p:cNvPr id="135" name="speech_2">
              <a:extLst>
                <a:ext uri="{FF2B5EF4-FFF2-40B4-BE49-F238E27FC236}">
                  <a16:creationId xmlns:a16="http://schemas.microsoft.com/office/drawing/2014/main" id="{D3698E87-DCC2-45A8-9FD0-867702C3E5E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886608" y="3679479"/>
              <a:ext cx="365760" cy="324931"/>
            </a:xfrm>
            <a:custGeom>
              <a:avLst/>
              <a:gdLst>
                <a:gd name="T0" fmla="*/ 122 w 215"/>
                <a:gd name="T1" fmla="*/ 145 h 191"/>
                <a:gd name="T2" fmla="*/ 76 w 215"/>
                <a:gd name="T3" fmla="*/ 145 h 191"/>
                <a:gd name="T4" fmla="*/ 31 w 215"/>
                <a:gd name="T5" fmla="*/ 191 h 191"/>
                <a:gd name="T6" fmla="*/ 31 w 215"/>
                <a:gd name="T7" fmla="*/ 145 h 191"/>
                <a:gd name="T8" fmla="*/ 0 w 215"/>
                <a:gd name="T9" fmla="*/ 145 h 191"/>
                <a:gd name="T10" fmla="*/ 0 w 215"/>
                <a:gd name="T11" fmla="*/ 0 h 191"/>
                <a:gd name="T12" fmla="*/ 215 w 215"/>
                <a:gd name="T13" fmla="*/ 0 h 191"/>
                <a:gd name="T14" fmla="*/ 215 w 215"/>
                <a:gd name="T15" fmla="*/ 120 h 191"/>
                <a:gd name="T16" fmla="*/ 122 w 215"/>
                <a:gd name="T17" fmla="*/ 145 h 191"/>
                <a:gd name="T18" fmla="*/ 122 w 215"/>
                <a:gd name="T19" fmla="*/ 145 h 191"/>
                <a:gd name="T20" fmla="*/ 122 w 215"/>
                <a:gd name="T21" fmla="*/ 145 h 191"/>
                <a:gd name="T22" fmla="*/ 215 w 215"/>
                <a:gd name="T23" fmla="*/ 145 h 191"/>
                <a:gd name="T24" fmla="*/ 215 w 215"/>
                <a:gd name="T25" fmla="*/ 1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191">
                  <a:moveTo>
                    <a:pt x="122" y="145"/>
                  </a:moveTo>
                  <a:lnTo>
                    <a:pt x="76" y="145"/>
                  </a:lnTo>
                  <a:lnTo>
                    <a:pt x="31" y="191"/>
                  </a:lnTo>
                  <a:lnTo>
                    <a:pt x="31" y="145"/>
                  </a:lnTo>
                  <a:lnTo>
                    <a:pt x="0" y="145"/>
                  </a:lnTo>
                  <a:lnTo>
                    <a:pt x="0" y="0"/>
                  </a:lnTo>
                  <a:lnTo>
                    <a:pt x="215" y="0"/>
                  </a:lnTo>
                  <a:lnTo>
                    <a:pt x="215" y="120"/>
                  </a:lnTo>
                  <a:moveTo>
                    <a:pt x="122" y="145"/>
                  </a:moveTo>
                  <a:lnTo>
                    <a:pt x="122" y="145"/>
                  </a:lnTo>
                  <a:moveTo>
                    <a:pt x="122" y="145"/>
                  </a:moveTo>
                  <a:lnTo>
                    <a:pt x="215" y="145"/>
                  </a:lnTo>
                  <a:lnTo>
                    <a:pt x="215" y="120"/>
                  </a:lnTo>
                </a:path>
              </a:pathLst>
            </a:custGeom>
            <a:noFill/>
            <a:ln w="1905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  <p:sp>
          <p:nvSpPr>
            <p:cNvPr id="143" name="speech_2">
              <a:extLst>
                <a:ext uri="{FF2B5EF4-FFF2-40B4-BE49-F238E27FC236}">
                  <a16:creationId xmlns:a16="http://schemas.microsoft.com/office/drawing/2014/main" id="{1169166E-C8E3-4469-B5B3-E89F861884B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29483" y="3793779"/>
              <a:ext cx="365760" cy="324931"/>
            </a:xfrm>
            <a:custGeom>
              <a:avLst/>
              <a:gdLst>
                <a:gd name="T0" fmla="*/ 122 w 215"/>
                <a:gd name="T1" fmla="*/ 145 h 191"/>
                <a:gd name="T2" fmla="*/ 76 w 215"/>
                <a:gd name="T3" fmla="*/ 145 h 191"/>
                <a:gd name="T4" fmla="*/ 31 w 215"/>
                <a:gd name="T5" fmla="*/ 191 h 191"/>
                <a:gd name="T6" fmla="*/ 31 w 215"/>
                <a:gd name="T7" fmla="*/ 145 h 191"/>
                <a:gd name="T8" fmla="*/ 0 w 215"/>
                <a:gd name="T9" fmla="*/ 145 h 191"/>
                <a:gd name="T10" fmla="*/ 0 w 215"/>
                <a:gd name="T11" fmla="*/ 0 h 191"/>
                <a:gd name="T12" fmla="*/ 215 w 215"/>
                <a:gd name="T13" fmla="*/ 0 h 191"/>
                <a:gd name="T14" fmla="*/ 215 w 215"/>
                <a:gd name="T15" fmla="*/ 120 h 191"/>
                <a:gd name="T16" fmla="*/ 122 w 215"/>
                <a:gd name="T17" fmla="*/ 145 h 191"/>
                <a:gd name="T18" fmla="*/ 122 w 215"/>
                <a:gd name="T19" fmla="*/ 145 h 191"/>
                <a:gd name="T20" fmla="*/ 122 w 215"/>
                <a:gd name="T21" fmla="*/ 145 h 191"/>
                <a:gd name="T22" fmla="*/ 215 w 215"/>
                <a:gd name="T23" fmla="*/ 145 h 191"/>
                <a:gd name="T24" fmla="*/ 215 w 215"/>
                <a:gd name="T25" fmla="*/ 1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191">
                  <a:moveTo>
                    <a:pt x="122" y="145"/>
                  </a:moveTo>
                  <a:lnTo>
                    <a:pt x="76" y="145"/>
                  </a:lnTo>
                  <a:lnTo>
                    <a:pt x="31" y="191"/>
                  </a:lnTo>
                  <a:lnTo>
                    <a:pt x="31" y="145"/>
                  </a:lnTo>
                  <a:lnTo>
                    <a:pt x="0" y="145"/>
                  </a:lnTo>
                  <a:lnTo>
                    <a:pt x="0" y="0"/>
                  </a:lnTo>
                  <a:lnTo>
                    <a:pt x="215" y="0"/>
                  </a:lnTo>
                  <a:lnTo>
                    <a:pt x="215" y="120"/>
                  </a:lnTo>
                  <a:moveTo>
                    <a:pt x="122" y="145"/>
                  </a:moveTo>
                  <a:lnTo>
                    <a:pt x="122" y="145"/>
                  </a:lnTo>
                  <a:moveTo>
                    <a:pt x="122" y="145"/>
                  </a:moveTo>
                  <a:lnTo>
                    <a:pt x="215" y="145"/>
                  </a:lnTo>
                  <a:lnTo>
                    <a:pt x="215" y="120"/>
                  </a:lnTo>
                </a:path>
              </a:pathLst>
            </a:custGeom>
            <a:solidFill>
              <a:srgbClr val="F9F9F9"/>
            </a:solidFill>
            <a:ln w="1905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  <p:sp>
          <p:nvSpPr>
            <p:cNvPr id="144" name="arrow_15">
              <a:extLst>
                <a:ext uri="{FF2B5EF4-FFF2-40B4-BE49-F238E27FC236}">
                  <a16:creationId xmlns:a16="http://schemas.microsoft.com/office/drawing/2014/main" id="{415DFA54-1986-471D-9B2C-0BA603CF956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48999" y="3790783"/>
              <a:ext cx="270526" cy="269296"/>
            </a:xfrm>
            <a:custGeom>
              <a:avLst/>
              <a:gdLst>
                <a:gd name="T0" fmla="*/ 0 w 304"/>
                <a:gd name="T1" fmla="*/ 151 h 303"/>
                <a:gd name="T2" fmla="*/ 152 w 304"/>
                <a:gd name="T3" fmla="*/ 0 h 303"/>
                <a:gd name="T4" fmla="*/ 304 w 304"/>
                <a:gd name="T5" fmla="*/ 151 h 303"/>
                <a:gd name="T6" fmla="*/ 152 w 304"/>
                <a:gd name="T7" fmla="*/ 303 h 303"/>
                <a:gd name="T8" fmla="*/ 0 w 304"/>
                <a:gd name="T9" fmla="*/ 151 h 303"/>
                <a:gd name="T10" fmla="*/ 151 w 304"/>
                <a:gd name="T11" fmla="*/ 223 h 303"/>
                <a:gd name="T12" fmla="*/ 223 w 304"/>
                <a:gd name="T13" fmla="*/ 151 h 303"/>
                <a:gd name="T14" fmla="*/ 151 w 304"/>
                <a:gd name="T15" fmla="*/ 79 h 303"/>
                <a:gd name="T16" fmla="*/ 223 w 304"/>
                <a:gd name="T17" fmla="*/ 151 h 303"/>
                <a:gd name="T18" fmla="*/ 73 w 304"/>
                <a:gd name="T19" fmla="*/ 15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4" h="303">
                  <a:moveTo>
                    <a:pt x="0" y="151"/>
                  </a:moveTo>
                  <a:cubicBezTo>
                    <a:pt x="0" y="68"/>
                    <a:pt x="68" y="0"/>
                    <a:pt x="152" y="0"/>
                  </a:cubicBezTo>
                  <a:cubicBezTo>
                    <a:pt x="236" y="0"/>
                    <a:pt x="304" y="68"/>
                    <a:pt x="304" y="151"/>
                  </a:cubicBezTo>
                  <a:cubicBezTo>
                    <a:pt x="304" y="235"/>
                    <a:pt x="236" y="303"/>
                    <a:pt x="152" y="303"/>
                  </a:cubicBezTo>
                  <a:cubicBezTo>
                    <a:pt x="68" y="303"/>
                    <a:pt x="0" y="235"/>
                    <a:pt x="0" y="151"/>
                  </a:cubicBezTo>
                  <a:close/>
                  <a:moveTo>
                    <a:pt x="151" y="223"/>
                  </a:moveTo>
                  <a:cubicBezTo>
                    <a:pt x="223" y="151"/>
                    <a:pt x="223" y="151"/>
                    <a:pt x="223" y="151"/>
                  </a:cubicBezTo>
                  <a:cubicBezTo>
                    <a:pt x="151" y="79"/>
                    <a:pt x="151" y="79"/>
                    <a:pt x="151" y="79"/>
                  </a:cubicBezTo>
                  <a:moveTo>
                    <a:pt x="223" y="151"/>
                  </a:moveTo>
                  <a:cubicBezTo>
                    <a:pt x="73" y="151"/>
                    <a:pt x="73" y="151"/>
                    <a:pt x="73" y="151"/>
                  </a:cubicBez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B1E3BA0-90C0-4D61-BC1B-84F513C0599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642" b="1269"/>
          <a:stretch/>
        </p:blipFill>
        <p:spPr>
          <a:xfrm>
            <a:off x="7411356" y="3676433"/>
            <a:ext cx="1875656" cy="182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47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:v="urn:schemas-microsoft-com:vml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0.0419 L -2.5E-6 -2.96296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5E-6 0.04189 L -2.5E-6 4.81481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4" presetClass="pat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4" presetClass="pat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4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3.95833E-6 0.04189 L 3.95833E-6 4.81481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4" presetClass="pat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91667E-6 0.04189 L -2.91667E-6 4.81481E-6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4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84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64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89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1" grpId="1" animBg="1"/>
      <p:bldP spid="124" grpId="0" animBg="1"/>
      <p:bldP spid="124" grpId="1" animBg="1"/>
      <p:bldP spid="127" grpId="0" animBg="1"/>
      <p:bldP spid="127" grpId="1" animBg="1"/>
      <p:bldP spid="130" grpId="0" animBg="1"/>
      <p:bldP spid="130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/>
          <p:cNvCxnSpPr/>
          <p:nvPr/>
        </p:nvCxnSpPr>
        <p:spPr>
          <a:xfrm>
            <a:off x="866" y="2474599"/>
            <a:ext cx="12190271" cy="0"/>
          </a:xfrm>
          <a:prstGeom prst="line">
            <a:avLst/>
          </a:prstGeom>
          <a:noFill/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/>
        </p:nvSpPr>
        <p:spPr bwMode="auto">
          <a:xfrm>
            <a:off x="6025610" y="2412357"/>
            <a:ext cx="124486" cy="124486"/>
          </a:xfrm>
          <a:prstGeom prst="ellipse">
            <a:avLst/>
          </a:prstGeom>
          <a:solidFill>
            <a:srgbClr val="FFFFFF"/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5857442" y="1549647"/>
            <a:ext cx="460821" cy="430097"/>
            <a:chOff x="2028485" y="5305924"/>
            <a:chExt cx="546628" cy="510184"/>
          </a:xfrm>
          <a:solidFill>
            <a:schemeClr val="accent3"/>
          </a:solidFill>
        </p:grpSpPr>
        <p:sp>
          <p:nvSpPr>
            <p:cNvPr id="47" name="Rectangle 37"/>
            <p:cNvSpPr>
              <a:spLocks noChangeArrowheads="1"/>
            </p:cNvSpPr>
            <p:nvPr/>
          </p:nvSpPr>
          <p:spPr bwMode="auto">
            <a:xfrm>
              <a:off x="2219269" y="5305924"/>
              <a:ext cx="162917" cy="160772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0" name="Rectangle 38"/>
            <p:cNvSpPr>
              <a:spLocks noChangeArrowheads="1"/>
            </p:cNvSpPr>
            <p:nvPr/>
          </p:nvSpPr>
          <p:spPr bwMode="auto">
            <a:xfrm>
              <a:off x="2028485" y="5657479"/>
              <a:ext cx="160773" cy="158629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1" name="Rectangle 39"/>
            <p:cNvSpPr>
              <a:spLocks noChangeArrowheads="1"/>
            </p:cNvSpPr>
            <p:nvPr/>
          </p:nvSpPr>
          <p:spPr bwMode="auto">
            <a:xfrm>
              <a:off x="2412196" y="5657479"/>
              <a:ext cx="162917" cy="158629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2" name="Line 40"/>
            <p:cNvSpPr>
              <a:spLocks noChangeShapeType="1"/>
            </p:cNvSpPr>
            <p:nvPr/>
          </p:nvSpPr>
          <p:spPr bwMode="auto">
            <a:xfrm flipH="1" flipV="1">
              <a:off x="2345744" y="5470984"/>
              <a:ext cx="102895" cy="182209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4" name="Line 41"/>
            <p:cNvSpPr>
              <a:spLocks noChangeShapeType="1"/>
            </p:cNvSpPr>
            <p:nvPr/>
          </p:nvSpPr>
          <p:spPr bwMode="auto">
            <a:xfrm>
              <a:off x="2187114" y="5734650"/>
              <a:ext cx="225082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5" name="Line 42"/>
            <p:cNvSpPr>
              <a:spLocks noChangeShapeType="1"/>
            </p:cNvSpPr>
            <p:nvPr/>
          </p:nvSpPr>
          <p:spPr bwMode="auto">
            <a:xfrm flipH="1">
              <a:off x="2152816" y="5470984"/>
              <a:ext cx="102895" cy="182209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58" name="Rectangle 57"/>
          <p:cNvSpPr/>
          <p:nvPr/>
        </p:nvSpPr>
        <p:spPr bwMode="auto">
          <a:xfrm>
            <a:off x="4252947" y="2511157"/>
            <a:ext cx="7324412" cy="110106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20" kern="0" dirty="0">
                <a:solidFill>
                  <a:srgbClr val="FF0000"/>
                </a:solidFill>
                <a:latin typeface="Segoe UI Semibold"/>
                <a:cs typeface="Segoe UI Semilight" panose="020B0402040204020203" pitchFamily="34" charset="0"/>
              </a:rPr>
              <a:t>Create</a:t>
            </a:r>
            <a:r>
              <a:rPr lang="en-US" sz="3920" kern="0" dirty="0">
                <a:solidFill>
                  <a:srgbClr val="1A1A1A"/>
                </a:solidFill>
                <a:latin typeface="Segoe UI Semibold"/>
                <a:cs typeface="Segoe UI Semilight" panose="020B0402040204020203" pitchFamily="34" charset="0"/>
              </a:rPr>
              <a:t> AI - Infrastructure and Tools</a:t>
            </a:r>
          </a:p>
        </p:txBody>
      </p:sp>
      <p:grpSp>
        <p:nvGrpSpPr>
          <p:cNvPr id="67" name="Group 27"/>
          <p:cNvGrpSpPr>
            <a:grpSpLocks noChangeAspect="1"/>
          </p:cNvGrpSpPr>
          <p:nvPr/>
        </p:nvGrpSpPr>
        <p:grpSpPr bwMode="auto">
          <a:xfrm>
            <a:off x="3286421" y="1575486"/>
            <a:ext cx="419334" cy="374267"/>
            <a:chOff x="3810" y="2105"/>
            <a:chExt cx="214" cy="191"/>
          </a:xfrm>
        </p:grpSpPr>
        <p:sp>
          <p:nvSpPr>
            <p:cNvPr id="68" name="Freeform 28"/>
            <p:cNvSpPr>
              <a:spLocks/>
            </p:cNvSpPr>
            <p:nvPr/>
          </p:nvSpPr>
          <p:spPr bwMode="auto">
            <a:xfrm>
              <a:off x="3810" y="2105"/>
              <a:ext cx="214" cy="191"/>
            </a:xfrm>
            <a:custGeom>
              <a:avLst/>
              <a:gdLst>
                <a:gd name="T0" fmla="*/ 214 w 214"/>
                <a:gd name="T1" fmla="*/ 120 h 191"/>
                <a:gd name="T2" fmla="*/ 214 w 214"/>
                <a:gd name="T3" fmla="*/ 0 h 191"/>
                <a:gd name="T4" fmla="*/ 0 w 214"/>
                <a:gd name="T5" fmla="*/ 0 h 191"/>
                <a:gd name="T6" fmla="*/ 0 w 214"/>
                <a:gd name="T7" fmla="*/ 145 h 191"/>
                <a:gd name="T8" fmla="*/ 29 w 214"/>
                <a:gd name="T9" fmla="*/ 145 h 191"/>
                <a:gd name="T10" fmla="*/ 29 w 214"/>
                <a:gd name="T11" fmla="*/ 191 h 191"/>
                <a:gd name="T12" fmla="*/ 75 w 214"/>
                <a:gd name="T13" fmla="*/ 145 h 191"/>
                <a:gd name="T14" fmla="*/ 121 w 214"/>
                <a:gd name="T15" fmla="*/ 14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91">
                  <a:moveTo>
                    <a:pt x="214" y="120"/>
                  </a:moveTo>
                  <a:lnTo>
                    <a:pt x="214" y="0"/>
                  </a:lnTo>
                  <a:lnTo>
                    <a:pt x="0" y="0"/>
                  </a:lnTo>
                  <a:lnTo>
                    <a:pt x="0" y="145"/>
                  </a:lnTo>
                  <a:lnTo>
                    <a:pt x="29" y="145"/>
                  </a:lnTo>
                  <a:lnTo>
                    <a:pt x="29" y="191"/>
                  </a:lnTo>
                  <a:lnTo>
                    <a:pt x="75" y="145"/>
                  </a:lnTo>
                  <a:lnTo>
                    <a:pt x="121" y="145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69" name="Line 29"/>
            <p:cNvSpPr>
              <a:spLocks noChangeShapeType="1"/>
            </p:cNvSpPr>
            <p:nvPr/>
          </p:nvSpPr>
          <p:spPr bwMode="auto">
            <a:xfrm>
              <a:off x="3931" y="2250"/>
              <a:ext cx="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5" name="Freeform 30"/>
            <p:cNvSpPr>
              <a:spLocks/>
            </p:cNvSpPr>
            <p:nvPr/>
          </p:nvSpPr>
          <p:spPr bwMode="auto">
            <a:xfrm>
              <a:off x="3903" y="2221"/>
              <a:ext cx="121" cy="29"/>
            </a:xfrm>
            <a:custGeom>
              <a:avLst/>
              <a:gdLst>
                <a:gd name="T0" fmla="*/ 0 w 93"/>
                <a:gd name="T1" fmla="*/ 25 h 25"/>
                <a:gd name="T2" fmla="*/ 93 w 93"/>
                <a:gd name="T3" fmla="*/ 25 h 25"/>
                <a:gd name="T4" fmla="*/ 93 w 93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25">
                  <a:moveTo>
                    <a:pt x="0" y="25"/>
                  </a:moveTo>
                  <a:lnTo>
                    <a:pt x="93" y="25"/>
                  </a:lnTo>
                  <a:lnTo>
                    <a:pt x="93" y="0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6" name="Freeform 31"/>
            <p:cNvSpPr>
              <a:spLocks/>
            </p:cNvSpPr>
            <p:nvPr/>
          </p:nvSpPr>
          <p:spPr bwMode="auto">
            <a:xfrm>
              <a:off x="3865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7" name="Freeform 32"/>
            <p:cNvSpPr>
              <a:spLocks/>
            </p:cNvSpPr>
            <p:nvPr/>
          </p:nvSpPr>
          <p:spPr bwMode="auto">
            <a:xfrm>
              <a:off x="3911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8" name="Freeform 33"/>
            <p:cNvSpPr>
              <a:spLocks/>
            </p:cNvSpPr>
            <p:nvPr/>
          </p:nvSpPr>
          <p:spPr bwMode="auto">
            <a:xfrm>
              <a:off x="3958" y="2172"/>
              <a:ext cx="10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79" name="Oval 78"/>
          <p:cNvSpPr/>
          <p:nvPr/>
        </p:nvSpPr>
        <p:spPr bwMode="auto">
          <a:xfrm>
            <a:off x="-1744805" y="2415002"/>
            <a:ext cx="124486" cy="124486"/>
          </a:xfrm>
          <a:prstGeom prst="ellipse">
            <a:avLst/>
          </a:prstGeom>
          <a:solidFill>
            <a:srgbClr val="BFBFBF"/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-1955878" y="1489304"/>
            <a:ext cx="546632" cy="546632"/>
            <a:chOff x="1990795" y="2892107"/>
            <a:chExt cx="557672" cy="557672"/>
          </a:xfrm>
        </p:grpSpPr>
        <p:sp>
          <p:nvSpPr>
            <p:cNvPr id="81" name="Freeform: Shape 80"/>
            <p:cNvSpPr/>
            <p:nvPr/>
          </p:nvSpPr>
          <p:spPr bwMode="auto">
            <a:xfrm>
              <a:off x="2041470" y="2942782"/>
              <a:ext cx="456322" cy="456322"/>
            </a:xfrm>
            <a:custGeom>
              <a:avLst/>
              <a:gdLst>
                <a:gd name="connsiteX0" fmla="*/ 991130 w 1982260"/>
                <a:gd name="connsiteY0" fmla="*/ 224367 h 1982260"/>
                <a:gd name="connsiteX1" fmla="*/ 224367 w 1982260"/>
                <a:gd name="connsiteY1" fmla="*/ 991130 h 1982260"/>
                <a:gd name="connsiteX2" fmla="*/ 991130 w 1982260"/>
                <a:gd name="connsiteY2" fmla="*/ 1757893 h 1982260"/>
                <a:gd name="connsiteX3" fmla="*/ 1757893 w 1982260"/>
                <a:gd name="connsiteY3" fmla="*/ 991130 h 1982260"/>
                <a:gd name="connsiteX4" fmla="*/ 991130 w 1982260"/>
                <a:gd name="connsiteY4" fmla="*/ 224367 h 1982260"/>
                <a:gd name="connsiteX5" fmla="*/ 991130 w 1982260"/>
                <a:gd name="connsiteY5" fmla="*/ 0 h 1982260"/>
                <a:gd name="connsiteX6" fmla="*/ 1982260 w 1982260"/>
                <a:gd name="connsiteY6" fmla="*/ 991130 h 1982260"/>
                <a:gd name="connsiteX7" fmla="*/ 991130 w 1982260"/>
                <a:gd name="connsiteY7" fmla="*/ 1982260 h 1982260"/>
                <a:gd name="connsiteX8" fmla="*/ 0 w 1982260"/>
                <a:gd name="connsiteY8" fmla="*/ 991130 h 1982260"/>
                <a:gd name="connsiteX9" fmla="*/ 991130 w 1982260"/>
                <a:gd name="connsiteY9" fmla="*/ 0 h 198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2260" h="1982260">
                  <a:moveTo>
                    <a:pt x="991130" y="224367"/>
                  </a:moveTo>
                  <a:cubicBezTo>
                    <a:pt x="567658" y="224367"/>
                    <a:pt x="224367" y="567658"/>
                    <a:pt x="224367" y="991130"/>
                  </a:cubicBezTo>
                  <a:cubicBezTo>
                    <a:pt x="224367" y="1414602"/>
                    <a:pt x="567658" y="1757893"/>
                    <a:pt x="991130" y="1757893"/>
                  </a:cubicBezTo>
                  <a:cubicBezTo>
                    <a:pt x="1414602" y="1757893"/>
                    <a:pt x="1757893" y="1414602"/>
                    <a:pt x="1757893" y="991130"/>
                  </a:cubicBezTo>
                  <a:cubicBezTo>
                    <a:pt x="1757893" y="567658"/>
                    <a:pt x="1414602" y="224367"/>
                    <a:pt x="991130" y="224367"/>
                  </a:cubicBezTo>
                  <a:close/>
                  <a:moveTo>
                    <a:pt x="991130" y="0"/>
                  </a:moveTo>
                  <a:cubicBezTo>
                    <a:pt x="1538516" y="0"/>
                    <a:pt x="1982260" y="443744"/>
                    <a:pt x="1982260" y="991130"/>
                  </a:cubicBezTo>
                  <a:cubicBezTo>
                    <a:pt x="1982260" y="1538516"/>
                    <a:pt x="1538516" y="1982260"/>
                    <a:pt x="991130" y="1982260"/>
                  </a:cubicBezTo>
                  <a:cubicBezTo>
                    <a:pt x="443744" y="1982260"/>
                    <a:pt x="0" y="1538516"/>
                    <a:pt x="0" y="991130"/>
                  </a:cubicBezTo>
                  <a:cubicBezTo>
                    <a:pt x="0" y="443744"/>
                    <a:pt x="443744" y="0"/>
                    <a:pt x="991130" y="0"/>
                  </a:cubicBezTo>
                  <a:close/>
                </a:path>
              </a:pathLst>
            </a:custGeom>
            <a:solidFill>
              <a:srgbClr val="BFBFBF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82" name="Freeform: Shape 81"/>
            <p:cNvSpPr/>
            <p:nvPr/>
          </p:nvSpPr>
          <p:spPr bwMode="auto">
            <a:xfrm>
              <a:off x="1990795" y="2892107"/>
              <a:ext cx="557672" cy="557672"/>
            </a:xfrm>
            <a:custGeom>
              <a:avLst/>
              <a:gdLst>
                <a:gd name="connsiteX0" fmla="*/ 1211263 w 2422526"/>
                <a:gd name="connsiteY0" fmla="*/ 232833 h 2422526"/>
                <a:gd name="connsiteX1" fmla="*/ 232833 w 2422526"/>
                <a:gd name="connsiteY1" fmla="*/ 1211263 h 2422526"/>
                <a:gd name="connsiteX2" fmla="*/ 1211263 w 2422526"/>
                <a:gd name="connsiteY2" fmla="*/ 2189693 h 2422526"/>
                <a:gd name="connsiteX3" fmla="*/ 2189693 w 2422526"/>
                <a:gd name="connsiteY3" fmla="*/ 1211263 h 2422526"/>
                <a:gd name="connsiteX4" fmla="*/ 1211263 w 2422526"/>
                <a:gd name="connsiteY4" fmla="*/ 232833 h 2422526"/>
                <a:gd name="connsiteX5" fmla="*/ 1211263 w 2422526"/>
                <a:gd name="connsiteY5" fmla="*/ 0 h 2422526"/>
                <a:gd name="connsiteX6" fmla="*/ 2422526 w 2422526"/>
                <a:gd name="connsiteY6" fmla="*/ 1211263 h 2422526"/>
                <a:gd name="connsiteX7" fmla="*/ 1211263 w 2422526"/>
                <a:gd name="connsiteY7" fmla="*/ 2422526 h 2422526"/>
                <a:gd name="connsiteX8" fmla="*/ 0 w 2422526"/>
                <a:gd name="connsiteY8" fmla="*/ 1211263 h 2422526"/>
                <a:gd name="connsiteX9" fmla="*/ 1211263 w 2422526"/>
                <a:gd name="connsiteY9" fmla="*/ 0 h 242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2526" h="2422526">
                  <a:moveTo>
                    <a:pt x="1211263" y="232833"/>
                  </a:moveTo>
                  <a:cubicBezTo>
                    <a:pt x="670891" y="232833"/>
                    <a:pt x="232833" y="670891"/>
                    <a:pt x="232833" y="1211263"/>
                  </a:cubicBezTo>
                  <a:cubicBezTo>
                    <a:pt x="232833" y="1751635"/>
                    <a:pt x="670891" y="2189693"/>
                    <a:pt x="1211263" y="2189693"/>
                  </a:cubicBezTo>
                  <a:cubicBezTo>
                    <a:pt x="1751635" y="2189693"/>
                    <a:pt x="2189693" y="1751635"/>
                    <a:pt x="2189693" y="1211263"/>
                  </a:cubicBezTo>
                  <a:cubicBezTo>
                    <a:pt x="2189693" y="670891"/>
                    <a:pt x="1751635" y="232833"/>
                    <a:pt x="1211263" y="232833"/>
                  </a:cubicBezTo>
                  <a:close/>
                  <a:moveTo>
                    <a:pt x="1211263" y="0"/>
                  </a:moveTo>
                  <a:cubicBezTo>
                    <a:pt x="1880225" y="0"/>
                    <a:pt x="2422526" y="542301"/>
                    <a:pt x="2422526" y="1211263"/>
                  </a:cubicBezTo>
                  <a:cubicBezTo>
                    <a:pt x="2422526" y="1880225"/>
                    <a:pt x="1880225" y="2422526"/>
                    <a:pt x="1211263" y="2422526"/>
                  </a:cubicBezTo>
                  <a:cubicBezTo>
                    <a:pt x="542301" y="2422526"/>
                    <a:pt x="0" y="1880225"/>
                    <a:pt x="0" y="1211263"/>
                  </a:cubicBezTo>
                  <a:cubicBezTo>
                    <a:pt x="0" y="542301"/>
                    <a:pt x="542301" y="0"/>
                    <a:pt x="1211263" y="0"/>
                  </a:cubicBezTo>
                  <a:close/>
                </a:path>
              </a:pathLst>
            </a:custGeom>
            <a:solidFill>
              <a:srgbClr val="BFBFBF">
                <a:alpha val="50000"/>
              </a:srgb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105" name="Oval 104"/>
          <p:cNvSpPr/>
          <p:nvPr/>
        </p:nvSpPr>
        <p:spPr bwMode="auto">
          <a:xfrm>
            <a:off x="844953" y="2415002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106" name="Group 14"/>
          <p:cNvGrpSpPr>
            <a:grpSpLocks noChangeAspect="1"/>
          </p:cNvGrpSpPr>
          <p:nvPr/>
        </p:nvGrpSpPr>
        <p:grpSpPr bwMode="auto">
          <a:xfrm>
            <a:off x="779372" y="1565220"/>
            <a:ext cx="255649" cy="394798"/>
            <a:chOff x="2912" y="2002"/>
            <a:chExt cx="158" cy="244"/>
          </a:xfrm>
        </p:grpSpPr>
        <p:sp>
          <p:nvSpPr>
            <p:cNvPr id="107" name="Rectangle 15"/>
            <p:cNvSpPr>
              <a:spLocks noChangeArrowheads="1"/>
            </p:cNvSpPr>
            <p:nvPr/>
          </p:nvSpPr>
          <p:spPr bwMode="auto">
            <a:xfrm>
              <a:off x="2912" y="2002"/>
              <a:ext cx="67" cy="65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8" name="Rectangle 16"/>
            <p:cNvSpPr>
              <a:spLocks noChangeArrowheads="1"/>
            </p:cNvSpPr>
            <p:nvPr/>
          </p:nvSpPr>
          <p:spPr bwMode="auto">
            <a:xfrm>
              <a:off x="3004" y="2002"/>
              <a:ext cx="66" cy="6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9" name="Rectangle 17"/>
            <p:cNvSpPr>
              <a:spLocks noChangeArrowheads="1"/>
            </p:cNvSpPr>
            <p:nvPr/>
          </p:nvSpPr>
          <p:spPr bwMode="auto">
            <a:xfrm>
              <a:off x="2912" y="2180"/>
              <a:ext cx="67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0" name="Rectangle 18"/>
            <p:cNvSpPr>
              <a:spLocks noChangeArrowheads="1"/>
            </p:cNvSpPr>
            <p:nvPr/>
          </p:nvSpPr>
          <p:spPr bwMode="auto">
            <a:xfrm>
              <a:off x="2912" y="2091"/>
              <a:ext cx="158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11" name="Oval 110"/>
          <p:cNvSpPr/>
          <p:nvPr/>
        </p:nvSpPr>
        <p:spPr bwMode="auto">
          <a:xfrm>
            <a:off x="3433845" y="2415002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BBCAC21-F8AE-4A78-9FD9-7DD9CF2613F4}"/>
              </a:ext>
            </a:extLst>
          </p:cNvPr>
          <p:cNvSpPr/>
          <p:nvPr/>
        </p:nvSpPr>
        <p:spPr bwMode="auto">
          <a:xfrm>
            <a:off x="6048998" y="3631816"/>
            <a:ext cx="5528361" cy="33572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</a:t>
            </a: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cience Process</a:t>
            </a:r>
            <a:endParaRPr lang="en-US" sz="2353" kern="0" dirty="0">
              <a:solidFill>
                <a:srgbClr val="1A1A1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CB38673-232F-44F6-9D50-F43AA1FDE253}"/>
              </a:ext>
            </a:extLst>
          </p:cNvPr>
          <p:cNvSpPr/>
          <p:nvPr/>
        </p:nvSpPr>
        <p:spPr bwMode="auto">
          <a:xfrm>
            <a:off x="6048998" y="3900686"/>
            <a:ext cx="3704958" cy="158178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etrained Models</a:t>
            </a:r>
          </a:p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</a:t>
            </a:r>
          </a:p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rvices and Frameworks</a:t>
            </a:r>
          </a:p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frastructure</a:t>
            </a:r>
          </a:p>
        </p:txBody>
      </p:sp>
    </p:spTree>
    <p:extLst>
      <p:ext uri="{BB962C8B-B14F-4D97-AF65-F5344CB8AC3E}">
        <p14:creationId xmlns:p14="http://schemas.microsoft.com/office/powerpoint/2010/main" val="380059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a14="http://schemas.microsoft.com/office/drawing/2010/main"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66637" y="122473"/>
            <a:ext cx="3464308" cy="2172429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705" b="0" dirty="0">
                <a:solidFill>
                  <a:schemeClr val="tx1"/>
                </a:solidFill>
                <a:latin typeface="+mn-lt"/>
              </a:rPr>
              <a:t>The Data Science Process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B867B6B-6CE2-4CCD-9DDE-E0294B6AD2DE}"/>
              </a:ext>
            </a:extLst>
          </p:cNvPr>
          <p:cNvGrpSpPr/>
          <p:nvPr/>
        </p:nvGrpSpPr>
        <p:grpSpPr>
          <a:xfrm>
            <a:off x="4153855" y="219679"/>
            <a:ext cx="7871510" cy="1253875"/>
            <a:chOff x="4237148" y="223587"/>
            <a:chExt cx="8029350" cy="127901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DA6F64A7-C848-49A8-8CB2-54AA232D1BAA}"/>
                </a:ext>
              </a:extLst>
            </p:cNvPr>
            <p:cNvSpPr/>
            <p:nvPr/>
          </p:nvSpPr>
          <p:spPr>
            <a:xfrm>
              <a:off x="8512672" y="351489"/>
              <a:ext cx="3753826" cy="1023215"/>
            </a:xfrm>
            <a:custGeom>
              <a:avLst/>
              <a:gdLst>
                <a:gd name="connsiteX0" fmla="*/ 170539 w 1023214"/>
                <a:gd name="connsiteY0" fmla="*/ 0 h 3753825"/>
                <a:gd name="connsiteX1" fmla="*/ 852675 w 1023214"/>
                <a:gd name="connsiteY1" fmla="*/ 0 h 3753825"/>
                <a:gd name="connsiteX2" fmla="*/ 1023214 w 1023214"/>
                <a:gd name="connsiteY2" fmla="*/ 170539 h 3753825"/>
                <a:gd name="connsiteX3" fmla="*/ 1023214 w 1023214"/>
                <a:gd name="connsiteY3" fmla="*/ 3753825 h 3753825"/>
                <a:gd name="connsiteX4" fmla="*/ 1023214 w 1023214"/>
                <a:gd name="connsiteY4" fmla="*/ 3753825 h 3753825"/>
                <a:gd name="connsiteX5" fmla="*/ 0 w 1023214"/>
                <a:gd name="connsiteY5" fmla="*/ 3753825 h 3753825"/>
                <a:gd name="connsiteX6" fmla="*/ 0 w 1023214"/>
                <a:gd name="connsiteY6" fmla="*/ 3753825 h 3753825"/>
                <a:gd name="connsiteX7" fmla="*/ 0 w 1023214"/>
                <a:gd name="connsiteY7" fmla="*/ 170539 h 3753825"/>
                <a:gd name="connsiteX8" fmla="*/ 170539 w 1023214"/>
                <a:gd name="connsiteY8" fmla="*/ 0 h 375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3214" h="3753825">
                  <a:moveTo>
                    <a:pt x="1023214" y="625651"/>
                  </a:moveTo>
                  <a:lnTo>
                    <a:pt x="1023214" y="3128174"/>
                  </a:lnTo>
                  <a:cubicBezTo>
                    <a:pt x="1023214" y="3473710"/>
                    <a:pt x="1002402" y="3753823"/>
                    <a:pt x="976729" y="3753823"/>
                  </a:cubicBezTo>
                  <a:lnTo>
                    <a:pt x="0" y="3753823"/>
                  </a:lnTo>
                  <a:lnTo>
                    <a:pt x="0" y="3753823"/>
                  </a:lnTo>
                  <a:lnTo>
                    <a:pt x="0" y="2"/>
                  </a:lnTo>
                  <a:lnTo>
                    <a:pt x="0" y="2"/>
                  </a:lnTo>
                  <a:lnTo>
                    <a:pt x="976729" y="2"/>
                  </a:lnTo>
                  <a:cubicBezTo>
                    <a:pt x="1002402" y="2"/>
                    <a:pt x="1023214" y="280115"/>
                    <a:pt x="1023214" y="625651"/>
                  </a:cubicBez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42783" tIns="170358" rIns="291749" bIns="170359" numCol="1" spcCol="1270" anchor="ctr" anchorCtr="0">
              <a:noAutofit/>
            </a:bodyPr>
            <a:lstStyle/>
            <a:p>
              <a:pPr marL="224097" lvl="1" indent="-224097" defTabSz="87148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961" dirty="0">
                  <a:solidFill>
                    <a:srgbClr val="1A1A1A"/>
                  </a:solidFill>
                  <a:latin typeface="Segoe UI"/>
                </a:rPr>
                <a:t>Define Objectives</a:t>
              </a:r>
            </a:p>
            <a:p>
              <a:pPr marL="224097" lvl="1" indent="-224097" defTabSz="87148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961" dirty="0">
                  <a:solidFill>
                    <a:srgbClr val="1A1A1A"/>
                  </a:solidFill>
                  <a:latin typeface="Segoe UI"/>
                </a:rPr>
                <a:t>Identify Data Sources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1C17F03-0010-4637-8A2B-C1746003B107}"/>
                </a:ext>
              </a:extLst>
            </p:cNvPr>
            <p:cNvSpPr/>
            <p:nvPr/>
          </p:nvSpPr>
          <p:spPr>
            <a:xfrm>
              <a:off x="4237148" y="223587"/>
              <a:ext cx="4275524" cy="1279018"/>
            </a:xfrm>
            <a:custGeom>
              <a:avLst/>
              <a:gdLst>
                <a:gd name="connsiteX0" fmla="*/ 0 w 4275524"/>
                <a:gd name="connsiteY0" fmla="*/ 213174 h 1279018"/>
                <a:gd name="connsiteX1" fmla="*/ 213174 w 4275524"/>
                <a:gd name="connsiteY1" fmla="*/ 0 h 1279018"/>
                <a:gd name="connsiteX2" fmla="*/ 4062350 w 4275524"/>
                <a:gd name="connsiteY2" fmla="*/ 0 h 1279018"/>
                <a:gd name="connsiteX3" fmla="*/ 4275524 w 4275524"/>
                <a:gd name="connsiteY3" fmla="*/ 213174 h 1279018"/>
                <a:gd name="connsiteX4" fmla="*/ 4275524 w 4275524"/>
                <a:gd name="connsiteY4" fmla="*/ 1065844 h 1279018"/>
                <a:gd name="connsiteX5" fmla="*/ 4062350 w 4275524"/>
                <a:gd name="connsiteY5" fmla="*/ 1279018 h 1279018"/>
                <a:gd name="connsiteX6" fmla="*/ 213174 w 4275524"/>
                <a:gd name="connsiteY6" fmla="*/ 1279018 h 1279018"/>
                <a:gd name="connsiteX7" fmla="*/ 0 w 4275524"/>
                <a:gd name="connsiteY7" fmla="*/ 1065844 h 1279018"/>
                <a:gd name="connsiteX8" fmla="*/ 0 w 4275524"/>
                <a:gd name="connsiteY8" fmla="*/ 213174 h 127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5524" h="1279018">
                  <a:moveTo>
                    <a:pt x="0" y="213174"/>
                  </a:moveTo>
                  <a:cubicBezTo>
                    <a:pt x="0" y="95441"/>
                    <a:pt x="95441" y="0"/>
                    <a:pt x="213174" y="0"/>
                  </a:cubicBezTo>
                  <a:lnTo>
                    <a:pt x="4062350" y="0"/>
                  </a:lnTo>
                  <a:cubicBezTo>
                    <a:pt x="4180083" y="0"/>
                    <a:pt x="4275524" y="95441"/>
                    <a:pt x="4275524" y="213174"/>
                  </a:cubicBezTo>
                  <a:lnTo>
                    <a:pt x="4275524" y="1065844"/>
                  </a:lnTo>
                  <a:cubicBezTo>
                    <a:pt x="4275524" y="1183577"/>
                    <a:pt x="4180083" y="1279018"/>
                    <a:pt x="4062350" y="1279018"/>
                  </a:cubicBezTo>
                  <a:lnTo>
                    <a:pt x="213174" y="1279018"/>
                  </a:lnTo>
                  <a:cubicBezTo>
                    <a:pt x="95441" y="1279018"/>
                    <a:pt x="0" y="1183577"/>
                    <a:pt x="0" y="1065844"/>
                  </a:cubicBezTo>
                  <a:lnTo>
                    <a:pt x="0" y="213174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80733" tIns="120971" rIns="180733" bIns="120971" numCol="1" spcCol="1270" anchor="ctr" anchorCtr="0">
              <a:noAutofit/>
            </a:bodyPr>
            <a:lstStyle/>
            <a:p>
              <a:pPr algn="ctr" defTabSz="13943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137" dirty="0">
                  <a:solidFill>
                    <a:srgbClr val="1A1A1A"/>
                  </a:solidFill>
                  <a:latin typeface="Segoe UI"/>
                </a:rPr>
                <a:t>Business Understanding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D042677-23FE-4BB1-8004-A6A072A0E851}"/>
              </a:ext>
            </a:extLst>
          </p:cNvPr>
          <p:cNvGrpSpPr/>
          <p:nvPr/>
        </p:nvGrpSpPr>
        <p:grpSpPr>
          <a:xfrm>
            <a:off x="4153855" y="1536248"/>
            <a:ext cx="7871510" cy="1253875"/>
            <a:chOff x="4237148" y="1566556"/>
            <a:chExt cx="8029350" cy="127901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6A7A4E3-2CC2-469A-BA6F-54F366368FEA}"/>
                </a:ext>
              </a:extLst>
            </p:cNvPr>
            <p:cNvSpPr/>
            <p:nvPr/>
          </p:nvSpPr>
          <p:spPr>
            <a:xfrm>
              <a:off x="8512672" y="1677897"/>
              <a:ext cx="3753826" cy="1056337"/>
            </a:xfrm>
            <a:custGeom>
              <a:avLst/>
              <a:gdLst>
                <a:gd name="connsiteX0" fmla="*/ 176060 w 1056336"/>
                <a:gd name="connsiteY0" fmla="*/ 0 h 3753825"/>
                <a:gd name="connsiteX1" fmla="*/ 880276 w 1056336"/>
                <a:gd name="connsiteY1" fmla="*/ 0 h 3753825"/>
                <a:gd name="connsiteX2" fmla="*/ 1056336 w 1056336"/>
                <a:gd name="connsiteY2" fmla="*/ 176060 h 3753825"/>
                <a:gd name="connsiteX3" fmla="*/ 1056336 w 1056336"/>
                <a:gd name="connsiteY3" fmla="*/ 3753825 h 3753825"/>
                <a:gd name="connsiteX4" fmla="*/ 1056336 w 1056336"/>
                <a:gd name="connsiteY4" fmla="*/ 3753825 h 3753825"/>
                <a:gd name="connsiteX5" fmla="*/ 0 w 1056336"/>
                <a:gd name="connsiteY5" fmla="*/ 3753825 h 3753825"/>
                <a:gd name="connsiteX6" fmla="*/ 0 w 1056336"/>
                <a:gd name="connsiteY6" fmla="*/ 3753825 h 3753825"/>
                <a:gd name="connsiteX7" fmla="*/ 0 w 1056336"/>
                <a:gd name="connsiteY7" fmla="*/ 176060 h 3753825"/>
                <a:gd name="connsiteX8" fmla="*/ 176060 w 1056336"/>
                <a:gd name="connsiteY8" fmla="*/ 0 h 375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336" h="3753825">
                  <a:moveTo>
                    <a:pt x="1056336" y="625653"/>
                  </a:moveTo>
                  <a:lnTo>
                    <a:pt x="1056336" y="3128172"/>
                  </a:lnTo>
                  <a:cubicBezTo>
                    <a:pt x="1056336" y="3473709"/>
                    <a:pt x="1034154" y="3753823"/>
                    <a:pt x="1006792" y="3753823"/>
                  </a:cubicBezTo>
                  <a:lnTo>
                    <a:pt x="0" y="3753823"/>
                  </a:lnTo>
                  <a:lnTo>
                    <a:pt x="0" y="3753823"/>
                  </a:lnTo>
                  <a:lnTo>
                    <a:pt x="0" y="2"/>
                  </a:lnTo>
                  <a:lnTo>
                    <a:pt x="0" y="2"/>
                  </a:lnTo>
                  <a:lnTo>
                    <a:pt x="1006792" y="2"/>
                  </a:lnTo>
                  <a:cubicBezTo>
                    <a:pt x="1034154" y="2"/>
                    <a:pt x="1056336" y="280116"/>
                    <a:pt x="1056336" y="625653"/>
                  </a:cubicBez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42783" tIns="171943" rIns="293334" bIns="171944" numCol="1" spcCol="1270" anchor="ctr" anchorCtr="0">
              <a:noAutofit/>
            </a:bodyPr>
            <a:lstStyle/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Ingest Data</a:t>
              </a:r>
            </a:p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Explore Data</a:t>
              </a:r>
            </a:p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Update Data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34F3FFF-6831-4E92-823B-120476C9332A}"/>
                </a:ext>
              </a:extLst>
            </p:cNvPr>
            <p:cNvSpPr/>
            <p:nvPr/>
          </p:nvSpPr>
          <p:spPr>
            <a:xfrm>
              <a:off x="4237148" y="1566556"/>
              <a:ext cx="4275524" cy="1279018"/>
            </a:xfrm>
            <a:custGeom>
              <a:avLst/>
              <a:gdLst>
                <a:gd name="connsiteX0" fmla="*/ 0 w 4275524"/>
                <a:gd name="connsiteY0" fmla="*/ 213174 h 1279018"/>
                <a:gd name="connsiteX1" fmla="*/ 213174 w 4275524"/>
                <a:gd name="connsiteY1" fmla="*/ 0 h 1279018"/>
                <a:gd name="connsiteX2" fmla="*/ 4062350 w 4275524"/>
                <a:gd name="connsiteY2" fmla="*/ 0 h 1279018"/>
                <a:gd name="connsiteX3" fmla="*/ 4275524 w 4275524"/>
                <a:gd name="connsiteY3" fmla="*/ 213174 h 1279018"/>
                <a:gd name="connsiteX4" fmla="*/ 4275524 w 4275524"/>
                <a:gd name="connsiteY4" fmla="*/ 1065844 h 1279018"/>
                <a:gd name="connsiteX5" fmla="*/ 4062350 w 4275524"/>
                <a:gd name="connsiteY5" fmla="*/ 1279018 h 1279018"/>
                <a:gd name="connsiteX6" fmla="*/ 213174 w 4275524"/>
                <a:gd name="connsiteY6" fmla="*/ 1279018 h 1279018"/>
                <a:gd name="connsiteX7" fmla="*/ 0 w 4275524"/>
                <a:gd name="connsiteY7" fmla="*/ 1065844 h 1279018"/>
                <a:gd name="connsiteX8" fmla="*/ 0 w 4275524"/>
                <a:gd name="connsiteY8" fmla="*/ 213174 h 127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5524" h="1279018">
                  <a:moveTo>
                    <a:pt x="0" y="213174"/>
                  </a:moveTo>
                  <a:cubicBezTo>
                    <a:pt x="0" y="95441"/>
                    <a:pt x="95441" y="0"/>
                    <a:pt x="213174" y="0"/>
                  </a:cubicBezTo>
                  <a:lnTo>
                    <a:pt x="4062350" y="0"/>
                  </a:lnTo>
                  <a:cubicBezTo>
                    <a:pt x="4180083" y="0"/>
                    <a:pt x="4275524" y="95441"/>
                    <a:pt x="4275524" y="213174"/>
                  </a:cubicBezTo>
                  <a:lnTo>
                    <a:pt x="4275524" y="1065844"/>
                  </a:lnTo>
                  <a:cubicBezTo>
                    <a:pt x="4275524" y="1183577"/>
                    <a:pt x="4180083" y="1279018"/>
                    <a:pt x="4062350" y="1279018"/>
                  </a:cubicBezTo>
                  <a:lnTo>
                    <a:pt x="213174" y="1279018"/>
                  </a:lnTo>
                  <a:cubicBezTo>
                    <a:pt x="95441" y="1279018"/>
                    <a:pt x="0" y="1183577"/>
                    <a:pt x="0" y="1065844"/>
                  </a:cubicBezTo>
                  <a:lnTo>
                    <a:pt x="0" y="213174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80733" tIns="120971" rIns="180733" bIns="120971" numCol="1" spcCol="1270" anchor="ctr" anchorCtr="0">
              <a:noAutofit/>
            </a:bodyPr>
            <a:lstStyle/>
            <a:p>
              <a:pPr algn="ctr" defTabSz="13943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137" dirty="0">
                  <a:solidFill>
                    <a:srgbClr val="1A1A1A"/>
                  </a:solidFill>
                  <a:latin typeface="Segoe UI"/>
                </a:rPr>
                <a:t>Data Acquisition and Understanding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7BAAE7B-A815-4EA2-889C-C52C53A71FA8}"/>
              </a:ext>
            </a:extLst>
          </p:cNvPr>
          <p:cNvGrpSpPr/>
          <p:nvPr/>
        </p:nvGrpSpPr>
        <p:grpSpPr>
          <a:xfrm>
            <a:off x="4153855" y="2852818"/>
            <a:ext cx="7871510" cy="1253875"/>
            <a:chOff x="4237148" y="2909526"/>
            <a:chExt cx="8029350" cy="1279018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867556C-CCD6-42CC-98ED-761F4EE47073}"/>
                </a:ext>
              </a:extLst>
            </p:cNvPr>
            <p:cNvSpPr/>
            <p:nvPr/>
          </p:nvSpPr>
          <p:spPr>
            <a:xfrm>
              <a:off x="8512672" y="3037427"/>
              <a:ext cx="3753826" cy="1023215"/>
            </a:xfrm>
            <a:custGeom>
              <a:avLst/>
              <a:gdLst>
                <a:gd name="connsiteX0" fmla="*/ 170539 w 1023214"/>
                <a:gd name="connsiteY0" fmla="*/ 0 h 3753825"/>
                <a:gd name="connsiteX1" fmla="*/ 852675 w 1023214"/>
                <a:gd name="connsiteY1" fmla="*/ 0 h 3753825"/>
                <a:gd name="connsiteX2" fmla="*/ 1023214 w 1023214"/>
                <a:gd name="connsiteY2" fmla="*/ 170539 h 3753825"/>
                <a:gd name="connsiteX3" fmla="*/ 1023214 w 1023214"/>
                <a:gd name="connsiteY3" fmla="*/ 3753825 h 3753825"/>
                <a:gd name="connsiteX4" fmla="*/ 1023214 w 1023214"/>
                <a:gd name="connsiteY4" fmla="*/ 3753825 h 3753825"/>
                <a:gd name="connsiteX5" fmla="*/ 0 w 1023214"/>
                <a:gd name="connsiteY5" fmla="*/ 3753825 h 3753825"/>
                <a:gd name="connsiteX6" fmla="*/ 0 w 1023214"/>
                <a:gd name="connsiteY6" fmla="*/ 3753825 h 3753825"/>
                <a:gd name="connsiteX7" fmla="*/ 0 w 1023214"/>
                <a:gd name="connsiteY7" fmla="*/ 170539 h 3753825"/>
                <a:gd name="connsiteX8" fmla="*/ 170539 w 1023214"/>
                <a:gd name="connsiteY8" fmla="*/ 0 h 375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3214" h="3753825">
                  <a:moveTo>
                    <a:pt x="1023214" y="625651"/>
                  </a:moveTo>
                  <a:lnTo>
                    <a:pt x="1023214" y="3128174"/>
                  </a:lnTo>
                  <a:cubicBezTo>
                    <a:pt x="1023214" y="3473710"/>
                    <a:pt x="1002402" y="3753823"/>
                    <a:pt x="976729" y="3753823"/>
                  </a:cubicBezTo>
                  <a:lnTo>
                    <a:pt x="0" y="3753823"/>
                  </a:lnTo>
                  <a:lnTo>
                    <a:pt x="0" y="3753823"/>
                  </a:lnTo>
                  <a:lnTo>
                    <a:pt x="0" y="2"/>
                  </a:lnTo>
                  <a:lnTo>
                    <a:pt x="0" y="2"/>
                  </a:lnTo>
                  <a:lnTo>
                    <a:pt x="976729" y="2"/>
                  </a:lnTo>
                  <a:cubicBezTo>
                    <a:pt x="1002402" y="2"/>
                    <a:pt x="1023214" y="280115"/>
                    <a:pt x="1023214" y="625651"/>
                  </a:cubicBez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42783" tIns="170359" rIns="291749" bIns="170358" numCol="1" spcCol="1270" anchor="ctr" anchorCtr="0">
              <a:noAutofit/>
            </a:bodyPr>
            <a:lstStyle/>
            <a:p>
              <a:pPr marL="224097" lvl="1" indent="-224097" defTabSz="87148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961" dirty="0">
                  <a:solidFill>
                    <a:srgbClr val="1A1A1A"/>
                  </a:solidFill>
                  <a:latin typeface="Segoe UI"/>
                </a:rPr>
                <a:t>Feature Selection</a:t>
              </a:r>
            </a:p>
            <a:p>
              <a:pPr marL="224097" lvl="1" indent="-224097" defTabSz="87148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961" dirty="0">
                  <a:solidFill>
                    <a:srgbClr val="1A1A1A"/>
                  </a:solidFill>
                  <a:latin typeface="Segoe UI"/>
                </a:rPr>
                <a:t>Create and Train Model</a:t>
              </a: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B96BDBA-1102-45A2-B3D6-394D9B2E7D2F}"/>
                </a:ext>
              </a:extLst>
            </p:cNvPr>
            <p:cNvSpPr/>
            <p:nvPr/>
          </p:nvSpPr>
          <p:spPr>
            <a:xfrm>
              <a:off x="4237148" y="2909526"/>
              <a:ext cx="4275524" cy="1279018"/>
            </a:xfrm>
            <a:custGeom>
              <a:avLst/>
              <a:gdLst>
                <a:gd name="connsiteX0" fmla="*/ 0 w 4275524"/>
                <a:gd name="connsiteY0" fmla="*/ 213174 h 1279018"/>
                <a:gd name="connsiteX1" fmla="*/ 213174 w 4275524"/>
                <a:gd name="connsiteY1" fmla="*/ 0 h 1279018"/>
                <a:gd name="connsiteX2" fmla="*/ 4062350 w 4275524"/>
                <a:gd name="connsiteY2" fmla="*/ 0 h 1279018"/>
                <a:gd name="connsiteX3" fmla="*/ 4275524 w 4275524"/>
                <a:gd name="connsiteY3" fmla="*/ 213174 h 1279018"/>
                <a:gd name="connsiteX4" fmla="*/ 4275524 w 4275524"/>
                <a:gd name="connsiteY4" fmla="*/ 1065844 h 1279018"/>
                <a:gd name="connsiteX5" fmla="*/ 4062350 w 4275524"/>
                <a:gd name="connsiteY5" fmla="*/ 1279018 h 1279018"/>
                <a:gd name="connsiteX6" fmla="*/ 213174 w 4275524"/>
                <a:gd name="connsiteY6" fmla="*/ 1279018 h 1279018"/>
                <a:gd name="connsiteX7" fmla="*/ 0 w 4275524"/>
                <a:gd name="connsiteY7" fmla="*/ 1065844 h 1279018"/>
                <a:gd name="connsiteX8" fmla="*/ 0 w 4275524"/>
                <a:gd name="connsiteY8" fmla="*/ 213174 h 127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5524" h="1279018">
                  <a:moveTo>
                    <a:pt x="0" y="213174"/>
                  </a:moveTo>
                  <a:cubicBezTo>
                    <a:pt x="0" y="95441"/>
                    <a:pt x="95441" y="0"/>
                    <a:pt x="213174" y="0"/>
                  </a:cubicBezTo>
                  <a:lnTo>
                    <a:pt x="4062350" y="0"/>
                  </a:lnTo>
                  <a:cubicBezTo>
                    <a:pt x="4180083" y="0"/>
                    <a:pt x="4275524" y="95441"/>
                    <a:pt x="4275524" y="213174"/>
                  </a:cubicBezTo>
                  <a:lnTo>
                    <a:pt x="4275524" y="1065844"/>
                  </a:lnTo>
                  <a:cubicBezTo>
                    <a:pt x="4275524" y="1183577"/>
                    <a:pt x="4180083" y="1279018"/>
                    <a:pt x="4062350" y="1279018"/>
                  </a:cubicBezTo>
                  <a:lnTo>
                    <a:pt x="213174" y="1279018"/>
                  </a:lnTo>
                  <a:cubicBezTo>
                    <a:pt x="95441" y="1279018"/>
                    <a:pt x="0" y="1183577"/>
                    <a:pt x="0" y="1065844"/>
                  </a:cubicBezTo>
                  <a:lnTo>
                    <a:pt x="0" y="213174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80733" tIns="120971" rIns="180733" bIns="120971" numCol="1" spcCol="1270" anchor="ctr" anchorCtr="0">
              <a:noAutofit/>
            </a:bodyPr>
            <a:lstStyle/>
            <a:p>
              <a:pPr algn="ctr" defTabSz="13943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137" dirty="0">
                  <a:solidFill>
                    <a:srgbClr val="1A1A1A"/>
                  </a:solidFill>
                  <a:latin typeface="Segoe UI"/>
                </a:rPr>
                <a:t>Modeling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DB8CA2D-F1E8-40C9-8A9C-4FD93FE5BAF7}"/>
              </a:ext>
            </a:extLst>
          </p:cNvPr>
          <p:cNvGrpSpPr/>
          <p:nvPr/>
        </p:nvGrpSpPr>
        <p:grpSpPr>
          <a:xfrm>
            <a:off x="4153855" y="4169387"/>
            <a:ext cx="7871510" cy="1253875"/>
            <a:chOff x="4237148" y="4252495"/>
            <a:chExt cx="8029350" cy="1279018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8F69D13-A340-41B5-9864-929622BEA612}"/>
                </a:ext>
              </a:extLst>
            </p:cNvPr>
            <p:cNvSpPr/>
            <p:nvPr/>
          </p:nvSpPr>
          <p:spPr>
            <a:xfrm>
              <a:off x="8512672" y="4380397"/>
              <a:ext cx="3753826" cy="1023215"/>
            </a:xfrm>
            <a:custGeom>
              <a:avLst/>
              <a:gdLst>
                <a:gd name="connsiteX0" fmla="*/ 170539 w 1023214"/>
                <a:gd name="connsiteY0" fmla="*/ 0 h 3753825"/>
                <a:gd name="connsiteX1" fmla="*/ 852675 w 1023214"/>
                <a:gd name="connsiteY1" fmla="*/ 0 h 3753825"/>
                <a:gd name="connsiteX2" fmla="*/ 1023214 w 1023214"/>
                <a:gd name="connsiteY2" fmla="*/ 170539 h 3753825"/>
                <a:gd name="connsiteX3" fmla="*/ 1023214 w 1023214"/>
                <a:gd name="connsiteY3" fmla="*/ 3753825 h 3753825"/>
                <a:gd name="connsiteX4" fmla="*/ 1023214 w 1023214"/>
                <a:gd name="connsiteY4" fmla="*/ 3753825 h 3753825"/>
                <a:gd name="connsiteX5" fmla="*/ 0 w 1023214"/>
                <a:gd name="connsiteY5" fmla="*/ 3753825 h 3753825"/>
                <a:gd name="connsiteX6" fmla="*/ 0 w 1023214"/>
                <a:gd name="connsiteY6" fmla="*/ 3753825 h 3753825"/>
                <a:gd name="connsiteX7" fmla="*/ 0 w 1023214"/>
                <a:gd name="connsiteY7" fmla="*/ 170539 h 3753825"/>
                <a:gd name="connsiteX8" fmla="*/ 170539 w 1023214"/>
                <a:gd name="connsiteY8" fmla="*/ 0 h 375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3214" h="3753825">
                  <a:moveTo>
                    <a:pt x="1023214" y="625651"/>
                  </a:moveTo>
                  <a:lnTo>
                    <a:pt x="1023214" y="3128174"/>
                  </a:lnTo>
                  <a:cubicBezTo>
                    <a:pt x="1023214" y="3473710"/>
                    <a:pt x="1002402" y="3753823"/>
                    <a:pt x="976729" y="3753823"/>
                  </a:cubicBezTo>
                  <a:lnTo>
                    <a:pt x="0" y="3753823"/>
                  </a:lnTo>
                  <a:lnTo>
                    <a:pt x="0" y="3753823"/>
                  </a:lnTo>
                  <a:lnTo>
                    <a:pt x="0" y="2"/>
                  </a:lnTo>
                  <a:lnTo>
                    <a:pt x="0" y="2"/>
                  </a:lnTo>
                  <a:lnTo>
                    <a:pt x="976729" y="2"/>
                  </a:lnTo>
                  <a:cubicBezTo>
                    <a:pt x="1002402" y="2"/>
                    <a:pt x="1023214" y="280115"/>
                    <a:pt x="1023214" y="625651"/>
                  </a:cubicBez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42783" tIns="170359" rIns="291749" bIns="170358" numCol="1" spcCol="1270" anchor="ctr" anchorCtr="0">
              <a:noAutofit/>
            </a:bodyPr>
            <a:lstStyle/>
            <a:p>
              <a:pPr marL="224097" lvl="1" indent="-224097" defTabSz="87148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961" dirty="0">
                  <a:solidFill>
                    <a:srgbClr val="1A1A1A"/>
                  </a:solidFill>
                  <a:latin typeface="Segoe UI"/>
                </a:rPr>
                <a:t>Operationalize</a:t>
              </a: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5EFCC2B-7150-4F73-B60B-851E731DD4EF}"/>
                </a:ext>
              </a:extLst>
            </p:cNvPr>
            <p:cNvSpPr/>
            <p:nvPr/>
          </p:nvSpPr>
          <p:spPr>
            <a:xfrm>
              <a:off x="4237148" y="4252495"/>
              <a:ext cx="4275524" cy="1279018"/>
            </a:xfrm>
            <a:custGeom>
              <a:avLst/>
              <a:gdLst>
                <a:gd name="connsiteX0" fmla="*/ 0 w 4275524"/>
                <a:gd name="connsiteY0" fmla="*/ 213174 h 1279018"/>
                <a:gd name="connsiteX1" fmla="*/ 213174 w 4275524"/>
                <a:gd name="connsiteY1" fmla="*/ 0 h 1279018"/>
                <a:gd name="connsiteX2" fmla="*/ 4062350 w 4275524"/>
                <a:gd name="connsiteY2" fmla="*/ 0 h 1279018"/>
                <a:gd name="connsiteX3" fmla="*/ 4275524 w 4275524"/>
                <a:gd name="connsiteY3" fmla="*/ 213174 h 1279018"/>
                <a:gd name="connsiteX4" fmla="*/ 4275524 w 4275524"/>
                <a:gd name="connsiteY4" fmla="*/ 1065844 h 1279018"/>
                <a:gd name="connsiteX5" fmla="*/ 4062350 w 4275524"/>
                <a:gd name="connsiteY5" fmla="*/ 1279018 h 1279018"/>
                <a:gd name="connsiteX6" fmla="*/ 213174 w 4275524"/>
                <a:gd name="connsiteY6" fmla="*/ 1279018 h 1279018"/>
                <a:gd name="connsiteX7" fmla="*/ 0 w 4275524"/>
                <a:gd name="connsiteY7" fmla="*/ 1065844 h 1279018"/>
                <a:gd name="connsiteX8" fmla="*/ 0 w 4275524"/>
                <a:gd name="connsiteY8" fmla="*/ 213174 h 127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5524" h="1279018">
                  <a:moveTo>
                    <a:pt x="0" y="213174"/>
                  </a:moveTo>
                  <a:cubicBezTo>
                    <a:pt x="0" y="95441"/>
                    <a:pt x="95441" y="0"/>
                    <a:pt x="213174" y="0"/>
                  </a:cubicBezTo>
                  <a:lnTo>
                    <a:pt x="4062350" y="0"/>
                  </a:lnTo>
                  <a:cubicBezTo>
                    <a:pt x="4180083" y="0"/>
                    <a:pt x="4275524" y="95441"/>
                    <a:pt x="4275524" y="213174"/>
                  </a:cubicBezTo>
                  <a:lnTo>
                    <a:pt x="4275524" y="1065844"/>
                  </a:lnTo>
                  <a:cubicBezTo>
                    <a:pt x="4275524" y="1183577"/>
                    <a:pt x="4180083" y="1279018"/>
                    <a:pt x="4062350" y="1279018"/>
                  </a:cubicBezTo>
                  <a:lnTo>
                    <a:pt x="213174" y="1279018"/>
                  </a:lnTo>
                  <a:cubicBezTo>
                    <a:pt x="95441" y="1279018"/>
                    <a:pt x="0" y="1183577"/>
                    <a:pt x="0" y="1065844"/>
                  </a:cubicBezTo>
                  <a:lnTo>
                    <a:pt x="0" y="213174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80733" tIns="120971" rIns="180733" bIns="120971" numCol="1" spcCol="1270" anchor="ctr" anchorCtr="0">
              <a:noAutofit/>
            </a:bodyPr>
            <a:lstStyle/>
            <a:p>
              <a:pPr algn="ctr" defTabSz="13943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137" dirty="0">
                  <a:solidFill>
                    <a:srgbClr val="1A1A1A"/>
                  </a:solidFill>
                  <a:latin typeface="Segoe UI"/>
                </a:rPr>
                <a:t>Deployment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4FA93B-FB84-4377-AD76-70CE741DABC9}"/>
              </a:ext>
            </a:extLst>
          </p:cNvPr>
          <p:cNvGrpSpPr/>
          <p:nvPr/>
        </p:nvGrpSpPr>
        <p:grpSpPr>
          <a:xfrm>
            <a:off x="4153855" y="5485957"/>
            <a:ext cx="7871510" cy="1253875"/>
            <a:chOff x="4237148" y="5595465"/>
            <a:chExt cx="8029350" cy="1279018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6B79DC6-4330-4BBA-BAFD-964F673A0E4F}"/>
                </a:ext>
              </a:extLst>
            </p:cNvPr>
            <p:cNvSpPr/>
            <p:nvPr/>
          </p:nvSpPr>
          <p:spPr>
            <a:xfrm>
              <a:off x="8512672" y="5723366"/>
              <a:ext cx="3753826" cy="1023215"/>
            </a:xfrm>
            <a:custGeom>
              <a:avLst/>
              <a:gdLst>
                <a:gd name="connsiteX0" fmla="*/ 170539 w 1023214"/>
                <a:gd name="connsiteY0" fmla="*/ 0 h 3753825"/>
                <a:gd name="connsiteX1" fmla="*/ 852675 w 1023214"/>
                <a:gd name="connsiteY1" fmla="*/ 0 h 3753825"/>
                <a:gd name="connsiteX2" fmla="*/ 1023214 w 1023214"/>
                <a:gd name="connsiteY2" fmla="*/ 170539 h 3753825"/>
                <a:gd name="connsiteX3" fmla="*/ 1023214 w 1023214"/>
                <a:gd name="connsiteY3" fmla="*/ 3753825 h 3753825"/>
                <a:gd name="connsiteX4" fmla="*/ 1023214 w 1023214"/>
                <a:gd name="connsiteY4" fmla="*/ 3753825 h 3753825"/>
                <a:gd name="connsiteX5" fmla="*/ 0 w 1023214"/>
                <a:gd name="connsiteY5" fmla="*/ 3753825 h 3753825"/>
                <a:gd name="connsiteX6" fmla="*/ 0 w 1023214"/>
                <a:gd name="connsiteY6" fmla="*/ 3753825 h 3753825"/>
                <a:gd name="connsiteX7" fmla="*/ 0 w 1023214"/>
                <a:gd name="connsiteY7" fmla="*/ 170539 h 3753825"/>
                <a:gd name="connsiteX8" fmla="*/ 170539 w 1023214"/>
                <a:gd name="connsiteY8" fmla="*/ 0 h 375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3214" h="3753825">
                  <a:moveTo>
                    <a:pt x="1023214" y="625651"/>
                  </a:moveTo>
                  <a:lnTo>
                    <a:pt x="1023214" y="3128174"/>
                  </a:lnTo>
                  <a:cubicBezTo>
                    <a:pt x="1023214" y="3473710"/>
                    <a:pt x="1002402" y="3753823"/>
                    <a:pt x="976729" y="3753823"/>
                  </a:cubicBezTo>
                  <a:lnTo>
                    <a:pt x="0" y="3753823"/>
                  </a:lnTo>
                  <a:lnTo>
                    <a:pt x="0" y="3753823"/>
                  </a:lnTo>
                  <a:lnTo>
                    <a:pt x="0" y="2"/>
                  </a:lnTo>
                  <a:lnTo>
                    <a:pt x="0" y="2"/>
                  </a:lnTo>
                  <a:lnTo>
                    <a:pt x="976729" y="2"/>
                  </a:lnTo>
                  <a:cubicBezTo>
                    <a:pt x="1002402" y="2"/>
                    <a:pt x="1023214" y="280115"/>
                    <a:pt x="1023214" y="625651"/>
                  </a:cubicBez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42783" tIns="170359" rIns="291749" bIns="170358" numCol="1" spcCol="1270" anchor="ctr" anchorCtr="0">
              <a:noAutofit/>
            </a:bodyPr>
            <a:lstStyle/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Testing and Validation</a:t>
              </a:r>
            </a:p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Handoff</a:t>
              </a:r>
            </a:p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Re-train and re-score</a:t>
              </a: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1B13C59-B08A-4386-9862-F13E3A9C8FF5}"/>
                </a:ext>
              </a:extLst>
            </p:cNvPr>
            <p:cNvSpPr/>
            <p:nvPr/>
          </p:nvSpPr>
          <p:spPr>
            <a:xfrm>
              <a:off x="4237148" y="5595465"/>
              <a:ext cx="4275524" cy="1279018"/>
            </a:xfrm>
            <a:custGeom>
              <a:avLst/>
              <a:gdLst>
                <a:gd name="connsiteX0" fmla="*/ 0 w 4275524"/>
                <a:gd name="connsiteY0" fmla="*/ 213174 h 1279018"/>
                <a:gd name="connsiteX1" fmla="*/ 213174 w 4275524"/>
                <a:gd name="connsiteY1" fmla="*/ 0 h 1279018"/>
                <a:gd name="connsiteX2" fmla="*/ 4062350 w 4275524"/>
                <a:gd name="connsiteY2" fmla="*/ 0 h 1279018"/>
                <a:gd name="connsiteX3" fmla="*/ 4275524 w 4275524"/>
                <a:gd name="connsiteY3" fmla="*/ 213174 h 1279018"/>
                <a:gd name="connsiteX4" fmla="*/ 4275524 w 4275524"/>
                <a:gd name="connsiteY4" fmla="*/ 1065844 h 1279018"/>
                <a:gd name="connsiteX5" fmla="*/ 4062350 w 4275524"/>
                <a:gd name="connsiteY5" fmla="*/ 1279018 h 1279018"/>
                <a:gd name="connsiteX6" fmla="*/ 213174 w 4275524"/>
                <a:gd name="connsiteY6" fmla="*/ 1279018 h 1279018"/>
                <a:gd name="connsiteX7" fmla="*/ 0 w 4275524"/>
                <a:gd name="connsiteY7" fmla="*/ 1065844 h 1279018"/>
                <a:gd name="connsiteX8" fmla="*/ 0 w 4275524"/>
                <a:gd name="connsiteY8" fmla="*/ 213174 h 127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5524" h="1279018">
                  <a:moveTo>
                    <a:pt x="0" y="213174"/>
                  </a:moveTo>
                  <a:cubicBezTo>
                    <a:pt x="0" y="95441"/>
                    <a:pt x="95441" y="0"/>
                    <a:pt x="213174" y="0"/>
                  </a:cubicBezTo>
                  <a:lnTo>
                    <a:pt x="4062350" y="0"/>
                  </a:lnTo>
                  <a:cubicBezTo>
                    <a:pt x="4180083" y="0"/>
                    <a:pt x="4275524" y="95441"/>
                    <a:pt x="4275524" y="213174"/>
                  </a:cubicBezTo>
                  <a:lnTo>
                    <a:pt x="4275524" y="1065844"/>
                  </a:lnTo>
                  <a:cubicBezTo>
                    <a:pt x="4275524" y="1183577"/>
                    <a:pt x="4180083" y="1279018"/>
                    <a:pt x="4062350" y="1279018"/>
                  </a:cubicBezTo>
                  <a:lnTo>
                    <a:pt x="213174" y="1279018"/>
                  </a:lnTo>
                  <a:cubicBezTo>
                    <a:pt x="95441" y="1279018"/>
                    <a:pt x="0" y="1183577"/>
                    <a:pt x="0" y="1065844"/>
                  </a:cubicBezTo>
                  <a:lnTo>
                    <a:pt x="0" y="213174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80733" tIns="120971" rIns="180733" bIns="120971" numCol="1" spcCol="1270" anchor="ctr" anchorCtr="0">
              <a:noAutofit/>
            </a:bodyPr>
            <a:lstStyle/>
            <a:p>
              <a:pPr algn="ctr" defTabSz="13943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137" dirty="0">
                  <a:solidFill>
                    <a:srgbClr val="1A1A1A"/>
                  </a:solidFill>
                  <a:latin typeface="Segoe UI"/>
                </a:rPr>
                <a:t>Customer Acceptance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0D986ABD-177B-CF43-B082-FAA2B353A788}"/>
              </a:ext>
            </a:extLst>
          </p:cNvPr>
          <p:cNvSpPr/>
          <p:nvPr/>
        </p:nvSpPr>
        <p:spPr>
          <a:xfrm>
            <a:off x="166636" y="5860129"/>
            <a:ext cx="3128148" cy="7543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313" dirty="0" err="1">
                <a:solidFill>
                  <a:srgbClr val="D83B01"/>
                </a:solidFill>
                <a:latin typeface="Segoe UI"/>
              </a:rPr>
              <a:t>aka.ms</a:t>
            </a:r>
            <a:r>
              <a:rPr lang="en-US" sz="4313" dirty="0">
                <a:solidFill>
                  <a:srgbClr val="D83B01"/>
                </a:solidFill>
                <a:latin typeface="Segoe UI"/>
              </a:rPr>
              <a:t>/</a:t>
            </a:r>
            <a:r>
              <a:rPr lang="en-US" sz="4313" dirty="0" err="1">
                <a:solidFill>
                  <a:srgbClr val="D83B01"/>
                </a:solidFill>
                <a:latin typeface="Segoe UI"/>
              </a:rPr>
              <a:t>tdsp</a:t>
            </a:r>
            <a:endParaRPr lang="en-US" sz="4313" dirty="0">
              <a:solidFill>
                <a:srgbClr val="D83B0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1373348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itle 2"/>
          <p:cNvSpPr>
            <a:spLocks noGrp="1"/>
          </p:cNvSpPr>
          <p:nvPr>
            <p:ph type="title"/>
          </p:nvPr>
        </p:nvSpPr>
        <p:spPr>
          <a:xfrm>
            <a:off x="626011" y="231523"/>
            <a:ext cx="11018520" cy="724143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705" b="0" dirty="0">
                <a:solidFill>
                  <a:schemeClr val="tx1"/>
                </a:solidFill>
                <a:latin typeface="+mn-lt"/>
              </a:rPr>
              <a:t>Machine Learning on Azure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9DACD66-9ABE-4D02-A164-A71D29E9DD5D}"/>
              </a:ext>
            </a:extLst>
          </p:cNvPr>
          <p:cNvSpPr/>
          <p:nvPr/>
        </p:nvSpPr>
        <p:spPr bwMode="auto">
          <a:xfrm>
            <a:off x="587522" y="1282285"/>
            <a:ext cx="6422311" cy="1124491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dirty="0">
                <a:solidFill>
                  <a:srgbClr val="D83B01"/>
                </a:solidFill>
                <a:latin typeface="Segoe UI Semibold"/>
                <a:ea typeface="Segoe UI" pitchFamily="34" charset="0"/>
                <a:cs typeface="Segoe UI" pitchFamily="34" charset="0"/>
              </a:rPr>
              <a:t>Sophisticated pretrained models</a:t>
            </a: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D83B01"/>
                </a:solidFill>
                <a:latin typeface="Segoe UI"/>
                <a:cs typeface="Segoe UI" pitchFamily="34" charset="0"/>
              </a:rPr>
              <a:t>To accelerate solution development with easy to use pretrained models</a:t>
            </a: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srgbClr val="D83B01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srgbClr val="D83B01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24F5600-D8EA-4EA6-82AC-B2C9608DDA7B}"/>
              </a:ext>
            </a:extLst>
          </p:cNvPr>
          <p:cNvSpPr/>
          <p:nvPr/>
        </p:nvSpPr>
        <p:spPr bwMode="auto">
          <a:xfrm>
            <a:off x="587522" y="3889785"/>
            <a:ext cx="6422311" cy="1124491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dirty="0">
                <a:solidFill>
                  <a:srgbClr val="D83B01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roductive services</a:t>
            </a: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D83B01"/>
                </a:solidFill>
                <a:latin typeface="Segoe UI"/>
                <a:cs typeface="Segoe UI" pitchFamily="34" charset="0"/>
              </a:rPr>
              <a:t>Empower your development teams</a:t>
            </a:r>
            <a:br>
              <a:rPr lang="en-US" sz="1800" dirty="0">
                <a:solidFill>
                  <a:srgbClr val="D83B01"/>
                </a:solidFill>
                <a:latin typeface="Segoe UI"/>
                <a:cs typeface="Segoe UI" pitchFamily="34" charset="0"/>
              </a:rPr>
            </a:br>
            <a:endParaRPr lang="en-US" sz="1800" dirty="0">
              <a:solidFill>
                <a:srgbClr val="D83B01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1950791-F330-44DE-900D-41BC51CE93FC}"/>
              </a:ext>
            </a:extLst>
          </p:cNvPr>
          <p:cNvSpPr/>
          <p:nvPr/>
        </p:nvSpPr>
        <p:spPr bwMode="auto">
          <a:xfrm>
            <a:off x="587522" y="5212940"/>
            <a:ext cx="6422311" cy="1124490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dirty="0">
                <a:solidFill>
                  <a:srgbClr val="D83B01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owerful infrastructure </a:t>
            </a: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D83B01"/>
                </a:solidFill>
                <a:latin typeface="Segoe UI"/>
                <a:cs typeface="Segoe UI" pitchFamily="34" charset="0"/>
              </a:rPr>
              <a:t>Accelerate time to value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51D4DFB8-7066-410C-A7C1-9D4509F3DE1F}"/>
              </a:ext>
            </a:extLst>
          </p:cNvPr>
          <p:cNvSpPr/>
          <p:nvPr/>
        </p:nvSpPr>
        <p:spPr bwMode="auto">
          <a:xfrm>
            <a:off x="7009832" y="1282285"/>
            <a:ext cx="4747596" cy="112449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7145ECC-C1EB-4947-8C9B-915FA53B745F}"/>
              </a:ext>
            </a:extLst>
          </p:cNvPr>
          <p:cNvSpPr/>
          <p:nvPr/>
        </p:nvSpPr>
        <p:spPr bwMode="auto">
          <a:xfrm>
            <a:off x="7009832" y="3889785"/>
            <a:ext cx="4747597" cy="112449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3077E78C-A457-48FA-A784-613193EC26CA}"/>
              </a:ext>
            </a:extLst>
          </p:cNvPr>
          <p:cNvSpPr/>
          <p:nvPr/>
        </p:nvSpPr>
        <p:spPr bwMode="auto">
          <a:xfrm>
            <a:off x="7009832" y="5212941"/>
            <a:ext cx="4747595" cy="112449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C0BB510E-A474-4D3E-BAAC-FB742F20EC1A}"/>
              </a:ext>
            </a:extLst>
          </p:cNvPr>
          <p:cNvSpPr txBox="1"/>
          <p:nvPr/>
        </p:nvSpPr>
        <p:spPr>
          <a:xfrm>
            <a:off x="7179372" y="1882126"/>
            <a:ext cx="684893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ision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EAE57E89-6E30-4193-B9DD-50224848504C}"/>
              </a:ext>
            </a:extLst>
          </p:cNvPr>
          <p:cNvSpPr txBox="1"/>
          <p:nvPr/>
        </p:nvSpPr>
        <p:spPr>
          <a:xfrm>
            <a:off x="8418276" y="1882126"/>
            <a:ext cx="684893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peech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016DE4BB-7138-449B-82AC-DB5D1D3558B5}"/>
              </a:ext>
            </a:extLst>
          </p:cNvPr>
          <p:cNvSpPr txBox="1"/>
          <p:nvPr/>
        </p:nvSpPr>
        <p:spPr>
          <a:xfrm>
            <a:off x="9634962" y="1882126"/>
            <a:ext cx="753031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anguage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EE4FF396-5408-462F-978E-F2D4606CC4E1}"/>
              </a:ext>
            </a:extLst>
          </p:cNvPr>
          <p:cNvSpPr txBox="1"/>
          <p:nvPr/>
        </p:nvSpPr>
        <p:spPr>
          <a:xfrm>
            <a:off x="10850258" y="1882126"/>
            <a:ext cx="744510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arch</a:t>
            </a:r>
          </a:p>
        </p:txBody>
      </p: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19E15380-1225-4AF2-A727-E6F431CFE846}"/>
              </a:ext>
            </a:extLst>
          </p:cNvPr>
          <p:cNvGrpSpPr/>
          <p:nvPr/>
        </p:nvGrpSpPr>
        <p:grpSpPr>
          <a:xfrm>
            <a:off x="7605442" y="4073610"/>
            <a:ext cx="432742" cy="480921"/>
            <a:chOff x="2378131" y="1581496"/>
            <a:chExt cx="552649" cy="614178"/>
          </a:xfrm>
          <a:solidFill>
            <a:schemeClr val="bg1"/>
          </a:solidFill>
        </p:grpSpPr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793B8DC6-6D82-4EA1-A0C2-EF6979FE8526}"/>
                </a:ext>
              </a:extLst>
            </p:cNvPr>
            <p:cNvSpPr/>
            <p:nvPr/>
          </p:nvSpPr>
          <p:spPr>
            <a:xfrm>
              <a:off x="2379057" y="1581496"/>
              <a:ext cx="551723" cy="311303"/>
            </a:xfrm>
            <a:custGeom>
              <a:avLst/>
              <a:gdLst>
                <a:gd name="connsiteX0" fmla="*/ 52815 w 278466"/>
                <a:gd name="connsiteY0" fmla="*/ 107833 h 157123"/>
                <a:gd name="connsiteX1" fmla="*/ 108042 w 278466"/>
                <a:gd name="connsiteY1" fmla="*/ 139569 h 157123"/>
                <a:gd name="connsiteX2" fmla="*/ 139156 w 278466"/>
                <a:gd name="connsiteY2" fmla="*/ 156526 h 157123"/>
                <a:gd name="connsiteX3" fmla="*/ 171203 w 278466"/>
                <a:gd name="connsiteY3" fmla="*/ 139413 h 157123"/>
                <a:gd name="connsiteX4" fmla="*/ 217406 w 278466"/>
                <a:gd name="connsiteY4" fmla="*/ 113278 h 157123"/>
                <a:gd name="connsiteX5" fmla="*/ 271699 w 278466"/>
                <a:gd name="connsiteY5" fmla="*/ 82009 h 157123"/>
                <a:gd name="connsiteX6" fmla="*/ 277922 w 278466"/>
                <a:gd name="connsiteY6" fmla="*/ 79519 h 157123"/>
                <a:gd name="connsiteX7" fmla="*/ 275122 w 278466"/>
                <a:gd name="connsiteY7" fmla="*/ 77186 h 157123"/>
                <a:gd name="connsiteX8" fmla="*/ 196560 w 278466"/>
                <a:gd name="connsiteY8" fmla="*/ 32382 h 157123"/>
                <a:gd name="connsiteX9" fmla="*/ 144289 w 278466"/>
                <a:gd name="connsiteY9" fmla="*/ 2825 h 157123"/>
                <a:gd name="connsiteX10" fmla="*/ 134489 w 278466"/>
                <a:gd name="connsiteY10" fmla="*/ 2669 h 157123"/>
                <a:gd name="connsiteX11" fmla="*/ 71483 w 278466"/>
                <a:gd name="connsiteY11" fmla="*/ 38605 h 157123"/>
                <a:gd name="connsiteX12" fmla="*/ 5056 w 278466"/>
                <a:gd name="connsiteY12" fmla="*/ 76097 h 157123"/>
                <a:gd name="connsiteX13" fmla="*/ 1167 w 278466"/>
                <a:gd name="connsiteY13" fmla="*/ 79364 h 157123"/>
                <a:gd name="connsiteX14" fmla="*/ 21546 w 278466"/>
                <a:gd name="connsiteY14" fmla="*/ 90098 h 157123"/>
                <a:gd name="connsiteX15" fmla="*/ 33680 w 278466"/>
                <a:gd name="connsiteY15" fmla="*/ 96787 h 157123"/>
                <a:gd name="connsiteX16" fmla="*/ 52815 w 278466"/>
                <a:gd name="connsiteY16" fmla="*/ 107833 h 157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8466" h="157123">
                  <a:moveTo>
                    <a:pt x="52815" y="107833"/>
                  </a:moveTo>
                  <a:cubicBezTo>
                    <a:pt x="70550" y="119500"/>
                    <a:pt x="89529" y="129146"/>
                    <a:pt x="108042" y="139569"/>
                  </a:cubicBezTo>
                  <a:cubicBezTo>
                    <a:pt x="118309" y="145325"/>
                    <a:pt x="128266" y="151703"/>
                    <a:pt x="139156" y="156526"/>
                  </a:cubicBezTo>
                  <a:cubicBezTo>
                    <a:pt x="150356" y="151859"/>
                    <a:pt x="160468" y="145169"/>
                    <a:pt x="171203" y="139413"/>
                  </a:cubicBezTo>
                  <a:cubicBezTo>
                    <a:pt x="186759" y="131012"/>
                    <a:pt x="202472" y="122767"/>
                    <a:pt x="217406" y="113278"/>
                  </a:cubicBezTo>
                  <a:cubicBezTo>
                    <a:pt x="235141" y="102077"/>
                    <a:pt x="253809" y="92898"/>
                    <a:pt x="271699" y="82009"/>
                  </a:cubicBezTo>
                  <a:cubicBezTo>
                    <a:pt x="273566" y="80764"/>
                    <a:pt x="275589" y="79364"/>
                    <a:pt x="277922" y="79519"/>
                  </a:cubicBezTo>
                  <a:cubicBezTo>
                    <a:pt x="277767" y="77808"/>
                    <a:pt x="276211" y="77653"/>
                    <a:pt x="275122" y="77186"/>
                  </a:cubicBezTo>
                  <a:cubicBezTo>
                    <a:pt x="249142" y="61940"/>
                    <a:pt x="222229" y="48250"/>
                    <a:pt x="196560" y="32382"/>
                  </a:cubicBezTo>
                  <a:cubicBezTo>
                    <a:pt x="179603" y="21804"/>
                    <a:pt x="161713" y="12781"/>
                    <a:pt x="144289" y="2825"/>
                  </a:cubicBezTo>
                  <a:cubicBezTo>
                    <a:pt x="140867" y="802"/>
                    <a:pt x="138067" y="491"/>
                    <a:pt x="134489" y="2669"/>
                  </a:cubicBezTo>
                  <a:cubicBezTo>
                    <a:pt x="113642" y="14803"/>
                    <a:pt x="92330" y="26004"/>
                    <a:pt x="71483" y="38605"/>
                  </a:cubicBezTo>
                  <a:cubicBezTo>
                    <a:pt x="49704" y="51828"/>
                    <a:pt x="27147" y="63652"/>
                    <a:pt x="5056" y="76097"/>
                  </a:cubicBezTo>
                  <a:cubicBezTo>
                    <a:pt x="3656" y="76875"/>
                    <a:pt x="1478" y="77030"/>
                    <a:pt x="1167" y="79364"/>
                  </a:cubicBezTo>
                  <a:cubicBezTo>
                    <a:pt x="8323" y="82320"/>
                    <a:pt x="14857" y="86209"/>
                    <a:pt x="21546" y="90098"/>
                  </a:cubicBezTo>
                  <a:cubicBezTo>
                    <a:pt x="25591" y="92432"/>
                    <a:pt x="29480" y="94765"/>
                    <a:pt x="33680" y="96787"/>
                  </a:cubicBezTo>
                  <a:cubicBezTo>
                    <a:pt x="40059" y="100210"/>
                    <a:pt x="46593" y="103788"/>
                    <a:pt x="52815" y="107833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9C452CEE-D576-466E-A44E-AD039F664C31}"/>
                </a:ext>
              </a:extLst>
            </p:cNvPr>
            <p:cNvSpPr/>
            <p:nvPr/>
          </p:nvSpPr>
          <p:spPr>
            <a:xfrm>
              <a:off x="2378440" y="1887144"/>
              <a:ext cx="551723" cy="209589"/>
            </a:xfrm>
            <a:custGeom>
              <a:avLst/>
              <a:gdLst>
                <a:gd name="connsiteX0" fmla="*/ 113331 w 278466"/>
                <a:gd name="connsiteY0" fmla="*/ 91241 h 105786"/>
                <a:gd name="connsiteX1" fmla="*/ 139467 w 278466"/>
                <a:gd name="connsiteY1" fmla="*/ 105864 h 105786"/>
                <a:gd name="connsiteX2" fmla="*/ 203716 w 278466"/>
                <a:gd name="connsiteY2" fmla="*/ 69928 h 105786"/>
                <a:gd name="connsiteX3" fmla="*/ 256454 w 278466"/>
                <a:gd name="connsiteY3" fmla="*/ 40525 h 105786"/>
                <a:gd name="connsiteX4" fmla="*/ 277767 w 278466"/>
                <a:gd name="connsiteY4" fmla="*/ 27769 h 105786"/>
                <a:gd name="connsiteX5" fmla="*/ 273877 w 278466"/>
                <a:gd name="connsiteY5" fmla="*/ 24969 h 105786"/>
                <a:gd name="connsiteX6" fmla="*/ 231407 w 278466"/>
                <a:gd name="connsiteY6" fmla="*/ 1167 h 105786"/>
                <a:gd name="connsiteX7" fmla="*/ 195316 w 278466"/>
                <a:gd name="connsiteY7" fmla="*/ 20924 h 105786"/>
                <a:gd name="connsiteX8" fmla="*/ 143511 w 278466"/>
                <a:gd name="connsiteY8" fmla="*/ 50948 h 105786"/>
                <a:gd name="connsiteX9" fmla="*/ 142578 w 278466"/>
                <a:gd name="connsiteY9" fmla="*/ 51415 h 105786"/>
                <a:gd name="connsiteX10" fmla="*/ 139467 w 278466"/>
                <a:gd name="connsiteY10" fmla="*/ 52504 h 105786"/>
                <a:gd name="connsiteX11" fmla="*/ 98552 w 278466"/>
                <a:gd name="connsiteY11" fmla="*/ 29169 h 105786"/>
                <a:gd name="connsiteX12" fmla="*/ 50482 w 278466"/>
                <a:gd name="connsiteY12" fmla="*/ 2256 h 105786"/>
                <a:gd name="connsiteX13" fmla="*/ 47682 w 278466"/>
                <a:gd name="connsiteY13" fmla="*/ 1322 h 105786"/>
                <a:gd name="connsiteX14" fmla="*/ 4123 w 278466"/>
                <a:gd name="connsiteY14" fmla="*/ 25746 h 105786"/>
                <a:gd name="connsiteX15" fmla="*/ 1167 w 278466"/>
                <a:gd name="connsiteY15" fmla="*/ 28080 h 105786"/>
                <a:gd name="connsiteX16" fmla="*/ 29947 w 278466"/>
                <a:gd name="connsiteY16" fmla="*/ 45037 h 105786"/>
                <a:gd name="connsiteX17" fmla="*/ 59194 w 278466"/>
                <a:gd name="connsiteY17" fmla="*/ 61216 h 105786"/>
                <a:gd name="connsiteX18" fmla="*/ 113331 w 278466"/>
                <a:gd name="connsiteY18" fmla="*/ 91241 h 10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8466" h="105786">
                  <a:moveTo>
                    <a:pt x="113331" y="91241"/>
                  </a:moveTo>
                  <a:cubicBezTo>
                    <a:pt x="122043" y="96063"/>
                    <a:pt x="130755" y="101041"/>
                    <a:pt x="139467" y="105864"/>
                  </a:cubicBezTo>
                  <a:cubicBezTo>
                    <a:pt x="160935" y="93885"/>
                    <a:pt x="182248" y="81906"/>
                    <a:pt x="203716" y="69928"/>
                  </a:cubicBezTo>
                  <a:cubicBezTo>
                    <a:pt x="221295" y="60127"/>
                    <a:pt x="238875" y="50171"/>
                    <a:pt x="256454" y="40525"/>
                  </a:cubicBezTo>
                  <a:cubicBezTo>
                    <a:pt x="263766" y="36636"/>
                    <a:pt x="270455" y="31658"/>
                    <a:pt x="277767" y="27769"/>
                  </a:cubicBezTo>
                  <a:cubicBezTo>
                    <a:pt x="276833" y="26213"/>
                    <a:pt x="275122" y="25746"/>
                    <a:pt x="273877" y="24969"/>
                  </a:cubicBezTo>
                  <a:cubicBezTo>
                    <a:pt x="259721" y="17035"/>
                    <a:pt x="245564" y="9101"/>
                    <a:pt x="231407" y="1167"/>
                  </a:cubicBezTo>
                  <a:cubicBezTo>
                    <a:pt x="218962" y="7078"/>
                    <a:pt x="207294" y="14234"/>
                    <a:pt x="195316" y="20924"/>
                  </a:cubicBezTo>
                  <a:cubicBezTo>
                    <a:pt x="177892" y="30725"/>
                    <a:pt x="160780" y="40992"/>
                    <a:pt x="143511" y="50948"/>
                  </a:cubicBezTo>
                  <a:cubicBezTo>
                    <a:pt x="143200" y="51104"/>
                    <a:pt x="142889" y="51260"/>
                    <a:pt x="142578" y="51415"/>
                  </a:cubicBezTo>
                  <a:cubicBezTo>
                    <a:pt x="141645" y="51882"/>
                    <a:pt x="140556" y="52037"/>
                    <a:pt x="139467" y="52504"/>
                  </a:cubicBezTo>
                  <a:cubicBezTo>
                    <a:pt x="125621" y="45037"/>
                    <a:pt x="111931" y="37414"/>
                    <a:pt x="98552" y="29169"/>
                  </a:cubicBezTo>
                  <a:cubicBezTo>
                    <a:pt x="82996" y="19524"/>
                    <a:pt x="66661" y="11123"/>
                    <a:pt x="50482" y="2256"/>
                  </a:cubicBezTo>
                  <a:cubicBezTo>
                    <a:pt x="49704" y="1789"/>
                    <a:pt x="48615" y="1633"/>
                    <a:pt x="47682" y="1322"/>
                  </a:cubicBezTo>
                  <a:cubicBezTo>
                    <a:pt x="33214" y="9412"/>
                    <a:pt x="18590" y="17501"/>
                    <a:pt x="4123" y="25746"/>
                  </a:cubicBezTo>
                  <a:cubicBezTo>
                    <a:pt x="3034" y="26369"/>
                    <a:pt x="1633" y="26524"/>
                    <a:pt x="1167" y="28080"/>
                  </a:cubicBezTo>
                  <a:cubicBezTo>
                    <a:pt x="10656" y="33992"/>
                    <a:pt x="20302" y="39592"/>
                    <a:pt x="29947" y="45037"/>
                  </a:cubicBezTo>
                  <a:cubicBezTo>
                    <a:pt x="39592" y="50482"/>
                    <a:pt x="49393" y="55771"/>
                    <a:pt x="59194" y="61216"/>
                  </a:cubicBezTo>
                  <a:cubicBezTo>
                    <a:pt x="77395" y="71017"/>
                    <a:pt x="95285" y="81129"/>
                    <a:pt x="113331" y="91241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911600D6-A904-45E4-B504-876B7732A86C}"/>
                </a:ext>
              </a:extLst>
            </p:cNvPr>
            <p:cNvSpPr/>
            <p:nvPr/>
          </p:nvSpPr>
          <p:spPr>
            <a:xfrm>
              <a:off x="2652763" y="1939850"/>
              <a:ext cx="277403" cy="255822"/>
            </a:xfrm>
            <a:custGeom>
              <a:avLst/>
              <a:gdLst>
                <a:gd name="connsiteX0" fmla="*/ 139933 w 140011"/>
                <a:gd name="connsiteY0" fmla="*/ 26680 h 129121"/>
                <a:gd name="connsiteX1" fmla="*/ 139467 w 140011"/>
                <a:gd name="connsiteY1" fmla="*/ 1167 h 129121"/>
                <a:gd name="connsiteX2" fmla="*/ 118154 w 140011"/>
                <a:gd name="connsiteY2" fmla="*/ 13923 h 129121"/>
                <a:gd name="connsiteX3" fmla="*/ 65416 w 140011"/>
                <a:gd name="connsiteY3" fmla="*/ 43326 h 129121"/>
                <a:gd name="connsiteX4" fmla="*/ 1167 w 140011"/>
                <a:gd name="connsiteY4" fmla="*/ 79262 h 129121"/>
                <a:gd name="connsiteX5" fmla="*/ 1167 w 140011"/>
                <a:gd name="connsiteY5" fmla="*/ 129044 h 129121"/>
                <a:gd name="connsiteX6" fmla="*/ 5989 w 140011"/>
                <a:gd name="connsiteY6" fmla="*/ 127021 h 129121"/>
                <a:gd name="connsiteX7" fmla="*/ 96374 w 140011"/>
                <a:gd name="connsiteY7" fmla="*/ 75684 h 129121"/>
                <a:gd name="connsiteX8" fmla="*/ 136666 w 140011"/>
                <a:gd name="connsiteY8" fmla="*/ 53126 h 129121"/>
                <a:gd name="connsiteX9" fmla="*/ 140245 w 140011"/>
                <a:gd name="connsiteY9" fmla="*/ 47059 h 129121"/>
                <a:gd name="connsiteX10" fmla="*/ 139933 w 140011"/>
                <a:gd name="connsiteY10" fmla="*/ 26680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0011" h="129121">
                  <a:moveTo>
                    <a:pt x="139933" y="26680"/>
                  </a:moveTo>
                  <a:cubicBezTo>
                    <a:pt x="139778" y="18124"/>
                    <a:pt x="140711" y="9723"/>
                    <a:pt x="139467" y="1167"/>
                  </a:cubicBezTo>
                  <a:cubicBezTo>
                    <a:pt x="132155" y="5056"/>
                    <a:pt x="125466" y="10034"/>
                    <a:pt x="118154" y="13923"/>
                  </a:cubicBezTo>
                  <a:cubicBezTo>
                    <a:pt x="100419" y="23569"/>
                    <a:pt x="82996" y="33525"/>
                    <a:pt x="65416" y="43326"/>
                  </a:cubicBezTo>
                  <a:cubicBezTo>
                    <a:pt x="43948" y="55304"/>
                    <a:pt x="22635" y="67283"/>
                    <a:pt x="1167" y="79262"/>
                  </a:cubicBezTo>
                  <a:cubicBezTo>
                    <a:pt x="1167" y="95908"/>
                    <a:pt x="1167" y="112398"/>
                    <a:pt x="1167" y="129044"/>
                  </a:cubicBezTo>
                  <a:cubicBezTo>
                    <a:pt x="3189" y="129199"/>
                    <a:pt x="4434" y="127799"/>
                    <a:pt x="5989" y="127021"/>
                  </a:cubicBezTo>
                  <a:cubicBezTo>
                    <a:pt x="36014" y="109753"/>
                    <a:pt x="66816" y="93885"/>
                    <a:pt x="96374" y="75684"/>
                  </a:cubicBezTo>
                  <a:cubicBezTo>
                    <a:pt x="109442" y="67594"/>
                    <a:pt x="123132" y="60438"/>
                    <a:pt x="136666" y="53126"/>
                  </a:cubicBezTo>
                  <a:cubicBezTo>
                    <a:pt x="139311" y="51726"/>
                    <a:pt x="140400" y="50015"/>
                    <a:pt x="140245" y="47059"/>
                  </a:cubicBezTo>
                  <a:cubicBezTo>
                    <a:pt x="139933" y="40059"/>
                    <a:pt x="140089" y="33369"/>
                    <a:pt x="139933" y="26680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C0DE9EA-80B1-4EF5-AFF2-9D574A5070AB}"/>
                </a:ext>
              </a:extLst>
            </p:cNvPr>
            <p:cNvSpPr/>
            <p:nvPr/>
          </p:nvSpPr>
          <p:spPr>
            <a:xfrm>
              <a:off x="2652149" y="1736427"/>
              <a:ext cx="277403" cy="255822"/>
            </a:xfrm>
            <a:custGeom>
              <a:avLst/>
              <a:gdLst>
                <a:gd name="connsiteX0" fmla="*/ 79417 w 140011"/>
                <a:gd name="connsiteY0" fmla="*/ 35081 h 129121"/>
                <a:gd name="connsiteX1" fmla="*/ 33214 w 140011"/>
                <a:gd name="connsiteY1" fmla="*/ 61216 h 129121"/>
                <a:gd name="connsiteX2" fmla="*/ 1167 w 140011"/>
                <a:gd name="connsiteY2" fmla="*/ 78328 h 129121"/>
                <a:gd name="connsiteX3" fmla="*/ 1167 w 140011"/>
                <a:gd name="connsiteY3" fmla="*/ 128577 h 129121"/>
                <a:gd name="connsiteX4" fmla="*/ 4278 w 140011"/>
                <a:gd name="connsiteY4" fmla="*/ 127488 h 129121"/>
                <a:gd name="connsiteX5" fmla="*/ 5212 w 140011"/>
                <a:gd name="connsiteY5" fmla="*/ 127021 h 129121"/>
                <a:gd name="connsiteX6" fmla="*/ 57016 w 140011"/>
                <a:gd name="connsiteY6" fmla="*/ 96997 h 129121"/>
                <a:gd name="connsiteX7" fmla="*/ 93107 w 140011"/>
                <a:gd name="connsiteY7" fmla="*/ 77239 h 129121"/>
                <a:gd name="connsiteX8" fmla="*/ 95752 w 140011"/>
                <a:gd name="connsiteY8" fmla="*/ 75373 h 129121"/>
                <a:gd name="connsiteX9" fmla="*/ 136355 w 140011"/>
                <a:gd name="connsiteY9" fmla="*/ 52504 h 129121"/>
                <a:gd name="connsiteX10" fmla="*/ 140089 w 140011"/>
                <a:gd name="connsiteY10" fmla="*/ 47993 h 129121"/>
                <a:gd name="connsiteX11" fmla="*/ 139778 w 140011"/>
                <a:gd name="connsiteY11" fmla="*/ 1167 h 129121"/>
                <a:gd name="connsiteX12" fmla="*/ 133555 w 140011"/>
                <a:gd name="connsiteY12" fmla="*/ 3656 h 129121"/>
                <a:gd name="connsiteX13" fmla="*/ 79417 w 140011"/>
                <a:gd name="connsiteY13" fmla="*/ 35081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011" h="129121">
                  <a:moveTo>
                    <a:pt x="79417" y="35081"/>
                  </a:moveTo>
                  <a:cubicBezTo>
                    <a:pt x="64483" y="44570"/>
                    <a:pt x="48771" y="52815"/>
                    <a:pt x="33214" y="61216"/>
                  </a:cubicBezTo>
                  <a:cubicBezTo>
                    <a:pt x="22635" y="66972"/>
                    <a:pt x="12368" y="73661"/>
                    <a:pt x="1167" y="78328"/>
                  </a:cubicBezTo>
                  <a:cubicBezTo>
                    <a:pt x="1167" y="95130"/>
                    <a:pt x="1167" y="111775"/>
                    <a:pt x="1167" y="128577"/>
                  </a:cubicBezTo>
                  <a:cubicBezTo>
                    <a:pt x="2256" y="128266"/>
                    <a:pt x="3345" y="127955"/>
                    <a:pt x="4278" y="127488"/>
                  </a:cubicBezTo>
                  <a:cubicBezTo>
                    <a:pt x="4589" y="127332"/>
                    <a:pt x="4900" y="127177"/>
                    <a:pt x="5212" y="127021"/>
                  </a:cubicBezTo>
                  <a:cubicBezTo>
                    <a:pt x="22480" y="117065"/>
                    <a:pt x="39592" y="106797"/>
                    <a:pt x="57016" y="96997"/>
                  </a:cubicBezTo>
                  <a:cubicBezTo>
                    <a:pt x="68994" y="90307"/>
                    <a:pt x="80662" y="82995"/>
                    <a:pt x="93107" y="77239"/>
                  </a:cubicBezTo>
                  <a:cubicBezTo>
                    <a:pt x="94041" y="76617"/>
                    <a:pt x="94819" y="75839"/>
                    <a:pt x="95752" y="75373"/>
                  </a:cubicBezTo>
                  <a:cubicBezTo>
                    <a:pt x="109287" y="67750"/>
                    <a:pt x="122821" y="60127"/>
                    <a:pt x="136355" y="52504"/>
                  </a:cubicBezTo>
                  <a:cubicBezTo>
                    <a:pt x="138222" y="51571"/>
                    <a:pt x="140089" y="50948"/>
                    <a:pt x="140089" y="47993"/>
                  </a:cubicBezTo>
                  <a:cubicBezTo>
                    <a:pt x="139933" y="32436"/>
                    <a:pt x="139933" y="16879"/>
                    <a:pt x="139778" y="1167"/>
                  </a:cubicBezTo>
                  <a:cubicBezTo>
                    <a:pt x="137289" y="1167"/>
                    <a:pt x="135422" y="2567"/>
                    <a:pt x="133555" y="3656"/>
                  </a:cubicBezTo>
                  <a:cubicBezTo>
                    <a:pt x="115976" y="14546"/>
                    <a:pt x="97152" y="23880"/>
                    <a:pt x="79417" y="35081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2317E818-6424-44AA-BC7D-1CCD331EBAED}"/>
                </a:ext>
              </a:extLst>
            </p:cNvPr>
            <p:cNvSpPr/>
            <p:nvPr/>
          </p:nvSpPr>
          <p:spPr>
            <a:xfrm>
              <a:off x="2378135" y="1939852"/>
              <a:ext cx="277403" cy="255822"/>
            </a:xfrm>
            <a:custGeom>
              <a:avLst/>
              <a:gdLst>
                <a:gd name="connsiteX0" fmla="*/ 113487 w 140011"/>
                <a:gd name="connsiteY0" fmla="*/ 64638 h 129121"/>
                <a:gd name="connsiteX1" fmla="*/ 59505 w 140011"/>
                <a:gd name="connsiteY1" fmla="*/ 34303 h 129121"/>
                <a:gd name="connsiteX2" fmla="*/ 30258 w 140011"/>
                <a:gd name="connsiteY2" fmla="*/ 18124 h 129121"/>
                <a:gd name="connsiteX3" fmla="*/ 1478 w 140011"/>
                <a:gd name="connsiteY3" fmla="*/ 1167 h 129121"/>
                <a:gd name="connsiteX4" fmla="*/ 1167 w 140011"/>
                <a:gd name="connsiteY4" fmla="*/ 47993 h 129121"/>
                <a:gd name="connsiteX5" fmla="*/ 4123 w 140011"/>
                <a:gd name="connsiteY5" fmla="*/ 52504 h 129121"/>
                <a:gd name="connsiteX6" fmla="*/ 56082 w 140011"/>
                <a:gd name="connsiteY6" fmla="*/ 82218 h 129121"/>
                <a:gd name="connsiteX7" fmla="*/ 117843 w 140011"/>
                <a:gd name="connsiteY7" fmla="*/ 117065 h 129121"/>
                <a:gd name="connsiteX8" fmla="*/ 139467 w 140011"/>
                <a:gd name="connsiteY8" fmla="*/ 128888 h 129121"/>
                <a:gd name="connsiteX9" fmla="*/ 139467 w 140011"/>
                <a:gd name="connsiteY9" fmla="*/ 79106 h 129121"/>
                <a:gd name="connsiteX10" fmla="*/ 113487 w 140011"/>
                <a:gd name="connsiteY10" fmla="*/ 64638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0011" h="129121">
                  <a:moveTo>
                    <a:pt x="113487" y="64638"/>
                  </a:moveTo>
                  <a:cubicBezTo>
                    <a:pt x="95441" y="54527"/>
                    <a:pt x="77551" y="44415"/>
                    <a:pt x="59505" y="34303"/>
                  </a:cubicBezTo>
                  <a:cubicBezTo>
                    <a:pt x="49860" y="28858"/>
                    <a:pt x="40059" y="23569"/>
                    <a:pt x="30258" y="18124"/>
                  </a:cubicBezTo>
                  <a:cubicBezTo>
                    <a:pt x="20613" y="12679"/>
                    <a:pt x="10968" y="7078"/>
                    <a:pt x="1478" y="1167"/>
                  </a:cubicBezTo>
                  <a:cubicBezTo>
                    <a:pt x="1478" y="16724"/>
                    <a:pt x="1478" y="32436"/>
                    <a:pt x="1167" y="47993"/>
                  </a:cubicBezTo>
                  <a:cubicBezTo>
                    <a:pt x="1167" y="50482"/>
                    <a:pt x="2256" y="51415"/>
                    <a:pt x="4123" y="52504"/>
                  </a:cubicBezTo>
                  <a:cubicBezTo>
                    <a:pt x="21391" y="62616"/>
                    <a:pt x="38970" y="71795"/>
                    <a:pt x="56082" y="82218"/>
                  </a:cubicBezTo>
                  <a:cubicBezTo>
                    <a:pt x="76306" y="94507"/>
                    <a:pt x="97308" y="105553"/>
                    <a:pt x="117843" y="117065"/>
                  </a:cubicBezTo>
                  <a:cubicBezTo>
                    <a:pt x="124999" y="121110"/>
                    <a:pt x="132311" y="124843"/>
                    <a:pt x="139467" y="128888"/>
                  </a:cubicBezTo>
                  <a:cubicBezTo>
                    <a:pt x="139467" y="112242"/>
                    <a:pt x="139467" y="95752"/>
                    <a:pt x="139467" y="79106"/>
                  </a:cubicBezTo>
                  <a:cubicBezTo>
                    <a:pt x="130910" y="74439"/>
                    <a:pt x="122199" y="69617"/>
                    <a:pt x="113487" y="64638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625886E1-88D4-4A9A-A607-05EE39E4C21F}"/>
                </a:ext>
              </a:extLst>
            </p:cNvPr>
            <p:cNvSpPr/>
            <p:nvPr/>
          </p:nvSpPr>
          <p:spPr>
            <a:xfrm>
              <a:off x="2378131" y="1736733"/>
              <a:ext cx="277403" cy="255822"/>
            </a:xfrm>
            <a:custGeom>
              <a:avLst/>
              <a:gdLst>
                <a:gd name="connsiteX0" fmla="*/ 98708 w 140011"/>
                <a:gd name="connsiteY0" fmla="*/ 105086 h 129121"/>
                <a:gd name="connsiteX1" fmla="*/ 139622 w 140011"/>
                <a:gd name="connsiteY1" fmla="*/ 128421 h 129121"/>
                <a:gd name="connsiteX2" fmla="*/ 139622 w 140011"/>
                <a:gd name="connsiteY2" fmla="*/ 78173 h 129121"/>
                <a:gd name="connsiteX3" fmla="*/ 108509 w 140011"/>
                <a:gd name="connsiteY3" fmla="*/ 61216 h 129121"/>
                <a:gd name="connsiteX4" fmla="*/ 53126 w 140011"/>
                <a:gd name="connsiteY4" fmla="*/ 29480 h 129121"/>
                <a:gd name="connsiteX5" fmla="*/ 33836 w 140011"/>
                <a:gd name="connsiteY5" fmla="*/ 18590 h 129121"/>
                <a:gd name="connsiteX6" fmla="*/ 21702 w 140011"/>
                <a:gd name="connsiteY6" fmla="*/ 11901 h 129121"/>
                <a:gd name="connsiteX7" fmla="*/ 1322 w 140011"/>
                <a:gd name="connsiteY7" fmla="*/ 1167 h 129121"/>
                <a:gd name="connsiteX8" fmla="*/ 1167 w 140011"/>
                <a:gd name="connsiteY8" fmla="*/ 46593 h 129121"/>
                <a:gd name="connsiteX9" fmla="*/ 4900 w 140011"/>
                <a:gd name="connsiteY9" fmla="*/ 52660 h 129121"/>
                <a:gd name="connsiteX10" fmla="*/ 36325 w 140011"/>
                <a:gd name="connsiteY10" fmla="*/ 70239 h 129121"/>
                <a:gd name="connsiteX11" fmla="*/ 47993 w 140011"/>
                <a:gd name="connsiteY11" fmla="*/ 77395 h 129121"/>
                <a:gd name="connsiteX12" fmla="*/ 50793 w 140011"/>
                <a:gd name="connsiteY12" fmla="*/ 78328 h 129121"/>
                <a:gd name="connsiteX13" fmla="*/ 98708 w 140011"/>
                <a:gd name="connsiteY13" fmla="*/ 105086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011" h="129121">
                  <a:moveTo>
                    <a:pt x="98708" y="105086"/>
                  </a:moveTo>
                  <a:cubicBezTo>
                    <a:pt x="112087" y="113331"/>
                    <a:pt x="125777" y="120954"/>
                    <a:pt x="139622" y="128421"/>
                  </a:cubicBezTo>
                  <a:cubicBezTo>
                    <a:pt x="139622" y="111620"/>
                    <a:pt x="139622" y="94974"/>
                    <a:pt x="139622" y="78173"/>
                  </a:cubicBezTo>
                  <a:cubicBezTo>
                    <a:pt x="128888" y="73350"/>
                    <a:pt x="118776" y="66972"/>
                    <a:pt x="108509" y="61216"/>
                  </a:cubicBezTo>
                  <a:cubicBezTo>
                    <a:pt x="89996" y="50793"/>
                    <a:pt x="71017" y="40992"/>
                    <a:pt x="53126" y="29480"/>
                  </a:cubicBezTo>
                  <a:cubicBezTo>
                    <a:pt x="46904" y="25435"/>
                    <a:pt x="40525" y="21857"/>
                    <a:pt x="33836" y="18590"/>
                  </a:cubicBezTo>
                  <a:cubicBezTo>
                    <a:pt x="29791" y="16412"/>
                    <a:pt x="25747" y="14234"/>
                    <a:pt x="21702" y="11901"/>
                  </a:cubicBezTo>
                  <a:cubicBezTo>
                    <a:pt x="15012" y="8012"/>
                    <a:pt x="8478" y="4123"/>
                    <a:pt x="1322" y="1167"/>
                  </a:cubicBezTo>
                  <a:cubicBezTo>
                    <a:pt x="1322" y="16257"/>
                    <a:pt x="1322" y="31502"/>
                    <a:pt x="1167" y="46593"/>
                  </a:cubicBezTo>
                  <a:cubicBezTo>
                    <a:pt x="1167" y="49704"/>
                    <a:pt x="2256" y="51260"/>
                    <a:pt x="4900" y="52660"/>
                  </a:cubicBezTo>
                  <a:cubicBezTo>
                    <a:pt x="15479" y="58416"/>
                    <a:pt x="25902" y="64327"/>
                    <a:pt x="36325" y="70239"/>
                  </a:cubicBezTo>
                  <a:cubicBezTo>
                    <a:pt x="40214" y="72417"/>
                    <a:pt x="44570" y="74128"/>
                    <a:pt x="47993" y="77395"/>
                  </a:cubicBezTo>
                  <a:cubicBezTo>
                    <a:pt x="48926" y="77706"/>
                    <a:pt x="49860" y="77862"/>
                    <a:pt x="50793" y="78328"/>
                  </a:cubicBezTo>
                  <a:cubicBezTo>
                    <a:pt x="66816" y="87040"/>
                    <a:pt x="83151" y="95441"/>
                    <a:pt x="98708" y="105086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218" name="TextBox 217">
            <a:extLst>
              <a:ext uri="{FF2B5EF4-FFF2-40B4-BE49-F238E27FC236}">
                <a16:creationId xmlns:a16="http://schemas.microsoft.com/office/drawing/2014/main" id="{713F8B66-6A31-4BB7-B9BF-3877C29F33C0}"/>
              </a:ext>
            </a:extLst>
          </p:cNvPr>
          <p:cNvSpPr txBox="1"/>
          <p:nvPr/>
        </p:nvSpPr>
        <p:spPr>
          <a:xfrm>
            <a:off x="7286426" y="4572941"/>
            <a:ext cx="1070772" cy="346584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</a:t>
            </a:r>
            <a:b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bricks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00CA1019-6FAE-4809-965C-D406F7A70362}"/>
              </a:ext>
            </a:extLst>
          </p:cNvPr>
          <p:cNvSpPr txBox="1"/>
          <p:nvPr/>
        </p:nvSpPr>
        <p:spPr>
          <a:xfrm>
            <a:off x="8769632" y="4572941"/>
            <a:ext cx="1315444" cy="346584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</a:t>
            </a:r>
            <a:b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achine Learning</a:t>
            </a:r>
          </a:p>
        </p:txBody>
      </p: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1E5AEEE1-F618-44C3-8538-70453CB407BF}"/>
              </a:ext>
            </a:extLst>
          </p:cNvPr>
          <p:cNvGrpSpPr/>
          <p:nvPr/>
        </p:nvGrpSpPr>
        <p:grpSpPr>
          <a:xfrm>
            <a:off x="7405910" y="5402674"/>
            <a:ext cx="821808" cy="686774"/>
            <a:chOff x="7417830" y="2130188"/>
            <a:chExt cx="2693670" cy="2275044"/>
          </a:xfrm>
        </p:grpSpPr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0D59D885-AF0C-4242-A9B5-4997BFC570E2}"/>
                </a:ext>
              </a:extLst>
            </p:cNvPr>
            <p:cNvGrpSpPr/>
            <p:nvPr/>
          </p:nvGrpSpPr>
          <p:grpSpPr>
            <a:xfrm>
              <a:off x="7627142" y="2130188"/>
              <a:ext cx="2275048" cy="2275044"/>
              <a:chOff x="7675552" y="2178598"/>
              <a:chExt cx="2178228" cy="2178224"/>
            </a:xfrm>
          </p:grpSpPr>
          <p:sp>
            <p:nvSpPr>
              <p:cNvPr id="230" name="Freeform 13">
                <a:extLst>
                  <a:ext uri="{FF2B5EF4-FFF2-40B4-BE49-F238E27FC236}">
                    <a16:creationId xmlns:a16="http://schemas.microsoft.com/office/drawing/2014/main" id="{8758797B-4C94-455C-8D4E-D2B090224B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56993" y="2561340"/>
                <a:ext cx="1427392" cy="1426766"/>
              </a:xfrm>
              <a:custGeom>
                <a:avLst/>
                <a:gdLst>
                  <a:gd name="T0" fmla="*/ 101 w 112"/>
                  <a:gd name="T1" fmla="*/ 0 h 112"/>
                  <a:gd name="T2" fmla="*/ 10 w 112"/>
                  <a:gd name="T3" fmla="*/ 0 h 112"/>
                  <a:gd name="T4" fmla="*/ 0 w 112"/>
                  <a:gd name="T5" fmla="*/ 10 h 112"/>
                  <a:gd name="T6" fmla="*/ 0 w 112"/>
                  <a:gd name="T7" fmla="*/ 101 h 112"/>
                  <a:gd name="T8" fmla="*/ 10 w 112"/>
                  <a:gd name="T9" fmla="*/ 112 h 112"/>
                  <a:gd name="T10" fmla="*/ 101 w 112"/>
                  <a:gd name="T11" fmla="*/ 112 h 112"/>
                  <a:gd name="T12" fmla="*/ 112 w 112"/>
                  <a:gd name="T13" fmla="*/ 101 h 112"/>
                  <a:gd name="T14" fmla="*/ 112 w 112"/>
                  <a:gd name="T15" fmla="*/ 10 h 112"/>
                  <a:gd name="T16" fmla="*/ 101 w 112"/>
                  <a:gd name="T17" fmla="*/ 0 h 112"/>
                  <a:gd name="T18" fmla="*/ 107 w 112"/>
                  <a:gd name="T19" fmla="*/ 101 h 112"/>
                  <a:gd name="T20" fmla="*/ 101 w 112"/>
                  <a:gd name="T21" fmla="*/ 107 h 112"/>
                  <a:gd name="T22" fmla="*/ 10 w 112"/>
                  <a:gd name="T23" fmla="*/ 107 h 112"/>
                  <a:gd name="T24" fmla="*/ 5 w 112"/>
                  <a:gd name="T25" fmla="*/ 101 h 112"/>
                  <a:gd name="T26" fmla="*/ 5 w 112"/>
                  <a:gd name="T27" fmla="*/ 10 h 112"/>
                  <a:gd name="T28" fmla="*/ 10 w 112"/>
                  <a:gd name="T29" fmla="*/ 5 h 112"/>
                  <a:gd name="T30" fmla="*/ 101 w 112"/>
                  <a:gd name="T31" fmla="*/ 5 h 112"/>
                  <a:gd name="T32" fmla="*/ 107 w 112"/>
                  <a:gd name="T33" fmla="*/ 10 h 112"/>
                  <a:gd name="T34" fmla="*/ 107 w 112"/>
                  <a:gd name="T35" fmla="*/ 10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112">
                    <a:moveTo>
                      <a:pt x="10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0" y="107"/>
                      <a:pt x="4" y="112"/>
                      <a:pt x="10" y="112"/>
                    </a:cubicBezTo>
                    <a:cubicBezTo>
                      <a:pt x="101" y="112"/>
                      <a:pt x="101" y="112"/>
                      <a:pt x="101" y="112"/>
                    </a:cubicBezTo>
                    <a:cubicBezTo>
                      <a:pt x="107" y="112"/>
                      <a:pt x="112" y="107"/>
                      <a:pt x="112" y="101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2" y="4"/>
                      <a:pt x="107" y="0"/>
                      <a:pt x="101" y="0"/>
                    </a:cubicBezTo>
                    <a:close/>
                    <a:moveTo>
                      <a:pt x="107" y="101"/>
                    </a:moveTo>
                    <a:cubicBezTo>
                      <a:pt x="107" y="104"/>
                      <a:pt x="104" y="107"/>
                      <a:pt x="101" y="107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7" y="107"/>
                      <a:pt x="5" y="104"/>
                      <a:pt x="5" y="10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7"/>
                      <a:pt x="7" y="5"/>
                      <a:pt x="10" y="5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4" y="5"/>
                      <a:pt x="107" y="7"/>
                      <a:pt x="107" y="10"/>
                    </a:cubicBezTo>
                    <a:lnTo>
                      <a:pt x="107" y="10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  <p:sp>
            <p:nvSpPr>
              <p:cNvPr id="231" name="Freeform 14">
                <a:extLst>
                  <a:ext uri="{FF2B5EF4-FFF2-40B4-BE49-F238E27FC236}">
                    <a16:creationId xmlns:a16="http://schemas.microsoft.com/office/drawing/2014/main" id="{729B0B97-0828-413A-BEA6-CC7BF94320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75552" y="2178598"/>
                <a:ext cx="2178228" cy="2178224"/>
              </a:xfrm>
              <a:custGeom>
                <a:avLst/>
                <a:gdLst>
                  <a:gd name="T0" fmla="*/ 165 w 171"/>
                  <a:gd name="T1" fmla="*/ 13 h 171"/>
                  <a:gd name="T2" fmla="*/ 158 w 171"/>
                  <a:gd name="T3" fmla="*/ 6 h 171"/>
                  <a:gd name="T4" fmla="*/ 153 w 171"/>
                  <a:gd name="T5" fmla="*/ 6 h 171"/>
                  <a:gd name="T6" fmla="*/ 139 w 171"/>
                  <a:gd name="T7" fmla="*/ 0 h 171"/>
                  <a:gd name="T8" fmla="*/ 127 w 171"/>
                  <a:gd name="T9" fmla="*/ 0 h 171"/>
                  <a:gd name="T10" fmla="*/ 113 w 171"/>
                  <a:gd name="T11" fmla="*/ 6 h 171"/>
                  <a:gd name="T12" fmla="*/ 108 w 171"/>
                  <a:gd name="T13" fmla="*/ 6 h 171"/>
                  <a:gd name="T14" fmla="*/ 91 w 171"/>
                  <a:gd name="T15" fmla="*/ 0 h 171"/>
                  <a:gd name="T16" fmla="*/ 80 w 171"/>
                  <a:gd name="T17" fmla="*/ 0 h 171"/>
                  <a:gd name="T18" fmla="*/ 66 w 171"/>
                  <a:gd name="T19" fmla="*/ 6 h 171"/>
                  <a:gd name="T20" fmla="*/ 61 w 171"/>
                  <a:gd name="T21" fmla="*/ 6 h 171"/>
                  <a:gd name="T22" fmla="*/ 44 w 171"/>
                  <a:gd name="T23" fmla="*/ 0 h 171"/>
                  <a:gd name="T24" fmla="*/ 35 w 171"/>
                  <a:gd name="T25" fmla="*/ 0 h 171"/>
                  <a:gd name="T26" fmla="*/ 18 w 171"/>
                  <a:gd name="T27" fmla="*/ 6 h 171"/>
                  <a:gd name="T28" fmla="*/ 13 w 171"/>
                  <a:gd name="T29" fmla="*/ 6 h 171"/>
                  <a:gd name="T30" fmla="*/ 7 w 171"/>
                  <a:gd name="T31" fmla="*/ 13 h 171"/>
                  <a:gd name="T32" fmla="*/ 7 w 171"/>
                  <a:gd name="T33" fmla="*/ 18 h 171"/>
                  <a:gd name="T34" fmla="*/ 0 w 171"/>
                  <a:gd name="T35" fmla="*/ 35 h 171"/>
                  <a:gd name="T36" fmla="*/ 0 w 171"/>
                  <a:gd name="T37" fmla="*/ 44 h 171"/>
                  <a:gd name="T38" fmla="*/ 7 w 171"/>
                  <a:gd name="T39" fmla="*/ 60 h 171"/>
                  <a:gd name="T40" fmla="*/ 7 w 171"/>
                  <a:gd name="T41" fmla="*/ 66 h 171"/>
                  <a:gd name="T42" fmla="*/ 0 w 171"/>
                  <a:gd name="T43" fmla="*/ 80 h 171"/>
                  <a:gd name="T44" fmla="*/ 0 w 171"/>
                  <a:gd name="T45" fmla="*/ 91 h 171"/>
                  <a:gd name="T46" fmla="*/ 7 w 171"/>
                  <a:gd name="T47" fmla="*/ 108 h 171"/>
                  <a:gd name="T48" fmla="*/ 7 w 171"/>
                  <a:gd name="T49" fmla="*/ 113 h 171"/>
                  <a:gd name="T50" fmla="*/ 0 w 171"/>
                  <a:gd name="T51" fmla="*/ 127 h 171"/>
                  <a:gd name="T52" fmla="*/ 0 w 171"/>
                  <a:gd name="T53" fmla="*/ 139 h 171"/>
                  <a:gd name="T54" fmla="*/ 7 w 171"/>
                  <a:gd name="T55" fmla="*/ 153 h 171"/>
                  <a:gd name="T56" fmla="*/ 7 w 171"/>
                  <a:gd name="T57" fmla="*/ 158 h 171"/>
                  <a:gd name="T58" fmla="*/ 13 w 171"/>
                  <a:gd name="T59" fmla="*/ 165 h 171"/>
                  <a:gd name="T60" fmla="*/ 18 w 171"/>
                  <a:gd name="T61" fmla="*/ 165 h 171"/>
                  <a:gd name="T62" fmla="*/ 35 w 171"/>
                  <a:gd name="T63" fmla="*/ 171 h 171"/>
                  <a:gd name="T64" fmla="*/ 44 w 171"/>
                  <a:gd name="T65" fmla="*/ 171 h 171"/>
                  <a:gd name="T66" fmla="*/ 61 w 171"/>
                  <a:gd name="T67" fmla="*/ 165 h 171"/>
                  <a:gd name="T68" fmla="*/ 66 w 171"/>
                  <a:gd name="T69" fmla="*/ 165 h 171"/>
                  <a:gd name="T70" fmla="*/ 80 w 171"/>
                  <a:gd name="T71" fmla="*/ 171 h 171"/>
                  <a:gd name="T72" fmla="*/ 91 w 171"/>
                  <a:gd name="T73" fmla="*/ 171 h 171"/>
                  <a:gd name="T74" fmla="*/ 108 w 171"/>
                  <a:gd name="T75" fmla="*/ 165 h 171"/>
                  <a:gd name="T76" fmla="*/ 113 w 171"/>
                  <a:gd name="T77" fmla="*/ 165 h 171"/>
                  <a:gd name="T78" fmla="*/ 127 w 171"/>
                  <a:gd name="T79" fmla="*/ 171 h 171"/>
                  <a:gd name="T80" fmla="*/ 139 w 171"/>
                  <a:gd name="T81" fmla="*/ 171 h 171"/>
                  <a:gd name="T82" fmla="*/ 153 w 171"/>
                  <a:gd name="T83" fmla="*/ 165 h 171"/>
                  <a:gd name="T84" fmla="*/ 158 w 171"/>
                  <a:gd name="T85" fmla="*/ 165 h 171"/>
                  <a:gd name="T86" fmla="*/ 165 w 171"/>
                  <a:gd name="T87" fmla="*/ 158 h 171"/>
                  <a:gd name="T88" fmla="*/ 165 w 171"/>
                  <a:gd name="T89" fmla="*/ 153 h 171"/>
                  <a:gd name="T90" fmla="*/ 171 w 171"/>
                  <a:gd name="T91" fmla="*/ 139 h 171"/>
                  <a:gd name="T92" fmla="*/ 171 w 171"/>
                  <a:gd name="T93" fmla="*/ 127 h 171"/>
                  <a:gd name="T94" fmla="*/ 165 w 171"/>
                  <a:gd name="T95" fmla="*/ 113 h 171"/>
                  <a:gd name="T96" fmla="*/ 165 w 171"/>
                  <a:gd name="T97" fmla="*/ 108 h 171"/>
                  <a:gd name="T98" fmla="*/ 171 w 171"/>
                  <a:gd name="T99" fmla="*/ 91 h 171"/>
                  <a:gd name="T100" fmla="*/ 171 w 171"/>
                  <a:gd name="T101" fmla="*/ 80 h 171"/>
                  <a:gd name="T102" fmla="*/ 165 w 171"/>
                  <a:gd name="T103" fmla="*/ 66 h 171"/>
                  <a:gd name="T104" fmla="*/ 165 w 171"/>
                  <a:gd name="T105" fmla="*/ 60 h 171"/>
                  <a:gd name="T106" fmla="*/ 171 w 171"/>
                  <a:gd name="T107" fmla="*/ 44 h 171"/>
                  <a:gd name="T108" fmla="*/ 171 w 171"/>
                  <a:gd name="T109" fmla="*/ 35 h 171"/>
                  <a:gd name="T110" fmla="*/ 165 w 171"/>
                  <a:gd name="T111" fmla="*/ 18 h 171"/>
                  <a:gd name="T112" fmla="*/ 159 w 171"/>
                  <a:gd name="T113" fmla="*/ 160 h 171"/>
                  <a:gd name="T114" fmla="*/ 12 w 171"/>
                  <a:gd name="T115" fmla="*/ 12 h 171"/>
                  <a:gd name="T116" fmla="*/ 160 w 171"/>
                  <a:gd name="T117" fmla="*/ 12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1" h="171">
                    <a:moveTo>
                      <a:pt x="171" y="18"/>
                    </a:moveTo>
                    <a:cubicBezTo>
                      <a:pt x="171" y="13"/>
                      <a:pt x="171" y="13"/>
                      <a:pt x="171" y="13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2"/>
                      <a:pt x="165" y="12"/>
                      <a:pt x="165" y="12"/>
                    </a:cubicBezTo>
                    <a:cubicBezTo>
                      <a:pt x="165" y="9"/>
                      <a:pt x="162" y="6"/>
                      <a:pt x="159" y="6"/>
                    </a:cubicBezTo>
                    <a:cubicBezTo>
                      <a:pt x="158" y="6"/>
                      <a:pt x="158" y="6"/>
                      <a:pt x="158" y="6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53" y="6"/>
                      <a:pt x="153" y="6"/>
                      <a:pt x="153" y="6"/>
                    </a:cubicBezTo>
                    <a:cubicBezTo>
                      <a:pt x="144" y="6"/>
                      <a:pt x="144" y="6"/>
                      <a:pt x="144" y="6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139" y="0"/>
                      <a:pt x="139" y="0"/>
                      <a:pt x="139" y="0"/>
                    </a:cubicBezTo>
                    <a:cubicBezTo>
                      <a:pt x="139" y="6"/>
                      <a:pt x="139" y="6"/>
                      <a:pt x="139" y="6"/>
                    </a:cubicBezTo>
                    <a:cubicBezTo>
                      <a:pt x="127" y="6"/>
                      <a:pt x="127" y="6"/>
                      <a:pt x="127" y="6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6"/>
                      <a:pt x="91" y="6"/>
                      <a:pt x="91" y="6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66" y="6"/>
                      <a:pt x="66" y="6"/>
                      <a:pt x="66" y="6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9" y="6"/>
                      <a:pt x="7" y="9"/>
                      <a:pt x="7" y="12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75"/>
                      <a:pt x="7" y="75"/>
                      <a:pt x="7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7" y="108"/>
                      <a:pt x="7" y="108"/>
                      <a:pt x="7" y="10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7" y="122"/>
                      <a:pt x="7" y="122"/>
                      <a:pt x="7" y="122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7" y="127"/>
                      <a:pt x="7" y="127"/>
                      <a:pt x="7" y="127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4"/>
                      <a:pt x="7" y="144"/>
                      <a:pt x="7" y="144"/>
                    </a:cubicBezTo>
                    <a:cubicBezTo>
                      <a:pt x="7" y="153"/>
                      <a:pt x="7" y="153"/>
                      <a:pt x="7" y="153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159"/>
                      <a:pt x="7" y="159"/>
                      <a:pt x="7" y="159"/>
                    </a:cubicBezTo>
                    <a:cubicBezTo>
                      <a:pt x="7" y="162"/>
                      <a:pt x="9" y="165"/>
                      <a:pt x="12" y="165"/>
                    </a:cubicBezTo>
                    <a:cubicBezTo>
                      <a:pt x="13" y="165"/>
                      <a:pt x="13" y="165"/>
                      <a:pt x="13" y="165"/>
                    </a:cubicBezTo>
                    <a:cubicBezTo>
                      <a:pt x="13" y="171"/>
                      <a:pt x="13" y="171"/>
                      <a:pt x="13" y="171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8" y="165"/>
                      <a:pt x="18" y="165"/>
                      <a:pt x="18" y="165"/>
                    </a:cubicBezTo>
                    <a:cubicBezTo>
                      <a:pt x="30" y="165"/>
                      <a:pt x="30" y="165"/>
                      <a:pt x="30" y="165"/>
                    </a:cubicBezTo>
                    <a:cubicBezTo>
                      <a:pt x="30" y="171"/>
                      <a:pt x="30" y="171"/>
                      <a:pt x="30" y="171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5" y="165"/>
                      <a:pt x="35" y="165"/>
                      <a:pt x="35" y="165"/>
                    </a:cubicBezTo>
                    <a:cubicBezTo>
                      <a:pt x="44" y="165"/>
                      <a:pt x="44" y="165"/>
                      <a:pt x="44" y="165"/>
                    </a:cubicBezTo>
                    <a:cubicBezTo>
                      <a:pt x="44" y="171"/>
                      <a:pt x="44" y="171"/>
                      <a:pt x="44" y="171"/>
                    </a:cubicBezTo>
                    <a:cubicBezTo>
                      <a:pt x="49" y="171"/>
                      <a:pt x="49" y="171"/>
                      <a:pt x="49" y="171"/>
                    </a:cubicBezTo>
                    <a:cubicBezTo>
                      <a:pt x="49" y="165"/>
                      <a:pt x="49" y="165"/>
                      <a:pt x="49" y="165"/>
                    </a:cubicBezTo>
                    <a:cubicBezTo>
                      <a:pt x="61" y="165"/>
                      <a:pt x="61" y="165"/>
                      <a:pt x="61" y="165"/>
                    </a:cubicBezTo>
                    <a:cubicBezTo>
                      <a:pt x="61" y="171"/>
                      <a:pt x="61" y="171"/>
                      <a:pt x="61" y="171"/>
                    </a:cubicBezTo>
                    <a:cubicBezTo>
                      <a:pt x="66" y="171"/>
                      <a:pt x="66" y="171"/>
                      <a:pt x="66" y="171"/>
                    </a:cubicBezTo>
                    <a:cubicBezTo>
                      <a:pt x="66" y="165"/>
                      <a:pt x="66" y="165"/>
                      <a:pt x="66" y="165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5" y="171"/>
                      <a:pt x="75" y="171"/>
                      <a:pt x="75" y="171"/>
                    </a:cubicBezTo>
                    <a:cubicBezTo>
                      <a:pt x="80" y="171"/>
                      <a:pt x="80" y="171"/>
                      <a:pt x="80" y="171"/>
                    </a:cubicBezTo>
                    <a:cubicBezTo>
                      <a:pt x="80" y="165"/>
                      <a:pt x="80" y="165"/>
                      <a:pt x="80" y="165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91" y="171"/>
                      <a:pt x="91" y="171"/>
                      <a:pt x="91" y="171"/>
                    </a:cubicBezTo>
                    <a:cubicBezTo>
                      <a:pt x="97" y="171"/>
                      <a:pt x="97" y="171"/>
                      <a:pt x="97" y="171"/>
                    </a:cubicBezTo>
                    <a:cubicBezTo>
                      <a:pt x="97" y="165"/>
                      <a:pt x="97" y="165"/>
                      <a:pt x="97" y="165"/>
                    </a:cubicBezTo>
                    <a:cubicBezTo>
                      <a:pt x="108" y="165"/>
                      <a:pt x="108" y="165"/>
                      <a:pt x="108" y="165"/>
                    </a:cubicBezTo>
                    <a:cubicBezTo>
                      <a:pt x="108" y="171"/>
                      <a:pt x="108" y="171"/>
                      <a:pt x="108" y="171"/>
                    </a:cubicBezTo>
                    <a:cubicBezTo>
                      <a:pt x="113" y="171"/>
                      <a:pt x="113" y="171"/>
                      <a:pt x="113" y="171"/>
                    </a:cubicBezTo>
                    <a:cubicBezTo>
                      <a:pt x="113" y="165"/>
                      <a:pt x="113" y="165"/>
                      <a:pt x="113" y="165"/>
                    </a:cubicBezTo>
                    <a:cubicBezTo>
                      <a:pt x="122" y="165"/>
                      <a:pt x="122" y="165"/>
                      <a:pt x="122" y="165"/>
                    </a:cubicBezTo>
                    <a:cubicBezTo>
                      <a:pt x="122" y="171"/>
                      <a:pt x="122" y="171"/>
                      <a:pt x="122" y="171"/>
                    </a:cubicBezTo>
                    <a:cubicBezTo>
                      <a:pt x="127" y="171"/>
                      <a:pt x="127" y="171"/>
                      <a:pt x="127" y="171"/>
                    </a:cubicBezTo>
                    <a:cubicBezTo>
                      <a:pt x="127" y="165"/>
                      <a:pt x="127" y="165"/>
                      <a:pt x="127" y="165"/>
                    </a:cubicBezTo>
                    <a:cubicBezTo>
                      <a:pt x="139" y="165"/>
                      <a:pt x="139" y="165"/>
                      <a:pt x="139" y="165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44" y="171"/>
                      <a:pt x="144" y="171"/>
                      <a:pt x="144" y="171"/>
                    </a:cubicBezTo>
                    <a:cubicBezTo>
                      <a:pt x="144" y="165"/>
                      <a:pt x="144" y="165"/>
                      <a:pt x="144" y="165"/>
                    </a:cubicBezTo>
                    <a:cubicBezTo>
                      <a:pt x="153" y="165"/>
                      <a:pt x="153" y="165"/>
                      <a:pt x="153" y="165"/>
                    </a:cubicBezTo>
                    <a:cubicBezTo>
                      <a:pt x="153" y="171"/>
                      <a:pt x="153" y="171"/>
                      <a:pt x="153" y="171"/>
                    </a:cubicBezTo>
                    <a:cubicBezTo>
                      <a:pt x="158" y="171"/>
                      <a:pt x="158" y="171"/>
                      <a:pt x="158" y="171"/>
                    </a:cubicBezTo>
                    <a:cubicBezTo>
                      <a:pt x="158" y="165"/>
                      <a:pt x="158" y="165"/>
                      <a:pt x="158" y="165"/>
                    </a:cubicBezTo>
                    <a:cubicBezTo>
                      <a:pt x="159" y="165"/>
                      <a:pt x="159" y="165"/>
                      <a:pt x="159" y="165"/>
                    </a:cubicBezTo>
                    <a:cubicBezTo>
                      <a:pt x="162" y="165"/>
                      <a:pt x="165" y="162"/>
                      <a:pt x="165" y="159"/>
                    </a:cubicBezTo>
                    <a:cubicBezTo>
                      <a:pt x="165" y="158"/>
                      <a:pt x="165" y="158"/>
                      <a:pt x="165" y="158"/>
                    </a:cubicBezTo>
                    <a:cubicBezTo>
                      <a:pt x="171" y="158"/>
                      <a:pt x="171" y="158"/>
                      <a:pt x="171" y="158"/>
                    </a:cubicBezTo>
                    <a:cubicBezTo>
                      <a:pt x="171" y="153"/>
                      <a:pt x="171" y="153"/>
                      <a:pt x="171" y="153"/>
                    </a:cubicBezTo>
                    <a:cubicBezTo>
                      <a:pt x="165" y="153"/>
                      <a:pt x="165" y="153"/>
                      <a:pt x="165" y="153"/>
                    </a:cubicBezTo>
                    <a:cubicBezTo>
                      <a:pt x="165" y="144"/>
                      <a:pt x="165" y="144"/>
                      <a:pt x="165" y="144"/>
                    </a:cubicBezTo>
                    <a:cubicBezTo>
                      <a:pt x="171" y="144"/>
                      <a:pt x="171" y="144"/>
                      <a:pt x="171" y="144"/>
                    </a:cubicBezTo>
                    <a:cubicBezTo>
                      <a:pt x="171" y="139"/>
                      <a:pt x="171" y="139"/>
                      <a:pt x="171" y="139"/>
                    </a:cubicBezTo>
                    <a:cubicBezTo>
                      <a:pt x="165" y="139"/>
                      <a:pt x="165" y="139"/>
                      <a:pt x="165" y="139"/>
                    </a:cubicBezTo>
                    <a:cubicBezTo>
                      <a:pt x="165" y="127"/>
                      <a:pt x="165" y="127"/>
                      <a:pt x="165" y="127"/>
                    </a:cubicBezTo>
                    <a:cubicBezTo>
                      <a:pt x="171" y="127"/>
                      <a:pt x="171" y="127"/>
                      <a:pt x="171" y="127"/>
                    </a:cubicBezTo>
                    <a:cubicBezTo>
                      <a:pt x="171" y="122"/>
                      <a:pt x="171" y="122"/>
                      <a:pt x="171" y="122"/>
                    </a:cubicBezTo>
                    <a:cubicBezTo>
                      <a:pt x="165" y="122"/>
                      <a:pt x="165" y="122"/>
                      <a:pt x="165" y="122"/>
                    </a:cubicBezTo>
                    <a:cubicBezTo>
                      <a:pt x="165" y="113"/>
                      <a:pt x="165" y="113"/>
                      <a:pt x="165" y="113"/>
                    </a:cubicBezTo>
                    <a:cubicBezTo>
                      <a:pt x="171" y="113"/>
                      <a:pt x="171" y="113"/>
                      <a:pt x="171" y="113"/>
                    </a:cubicBezTo>
                    <a:cubicBezTo>
                      <a:pt x="171" y="108"/>
                      <a:pt x="171" y="108"/>
                      <a:pt x="171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97"/>
                      <a:pt x="165" y="97"/>
                      <a:pt x="165" y="97"/>
                    </a:cubicBezTo>
                    <a:cubicBezTo>
                      <a:pt x="171" y="97"/>
                      <a:pt x="171" y="97"/>
                      <a:pt x="171" y="97"/>
                    </a:cubicBezTo>
                    <a:cubicBezTo>
                      <a:pt x="171" y="91"/>
                      <a:pt x="171" y="91"/>
                      <a:pt x="171" y="91"/>
                    </a:cubicBezTo>
                    <a:cubicBezTo>
                      <a:pt x="165" y="91"/>
                      <a:pt x="165" y="91"/>
                      <a:pt x="165" y="91"/>
                    </a:cubicBezTo>
                    <a:cubicBezTo>
                      <a:pt x="165" y="80"/>
                      <a:pt x="165" y="80"/>
                      <a:pt x="165" y="80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75"/>
                      <a:pt x="171" y="75"/>
                      <a:pt x="171" y="75"/>
                    </a:cubicBezTo>
                    <a:cubicBezTo>
                      <a:pt x="165" y="75"/>
                      <a:pt x="165" y="75"/>
                      <a:pt x="165" y="75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71" y="66"/>
                      <a:pt x="171" y="66"/>
                      <a:pt x="171" y="66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5" y="49"/>
                      <a:pt x="165" y="49"/>
                      <a:pt x="165" y="49"/>
                    </a:cubicBezTo>
                    <a:cubicBezTo>
                      <a:pt x="171" y="49"/>
                      <a:pt x="171" y="49"/>
                      <a:pt x="171" y="49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65" y="44"/>
                      <a:pt x="165" y="44"/>
                      <a:pt x="165" y="44"/>
                    </a:cubicBezTo>
                    <a:cubicBezTo>
                      <a:pt x="165" y="35"/>
                      <a:pt x="165" y="35"/>
                      <a:pt x="165" y="35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5" y="30"/>
                      <a:pt x="165" y="30"/>
                      <a:pt x="165" y="30"/>
                    </a:cubicBezTo>
                    <a:cubicBezTo>
                      <a:pt x="165" y="18"/>
                      <a:pt x="165" y="18"/>
                      <a:pt x="165" y="18"/>
                    </a:cubicBezTo>
                    <a:lnTo>
                      <a:pt x="171" y="18"/>
                    </a:lnTo>
                    <a:close/>
                    <a:moveTo>
                      <a:pt x="160" y="159"/>
                    </a:moveTo>
                    <a:cubicBezTo>
                      <a:pt x="160" y="159"/>
                      <a:pt x="160" y="160"/>
                      <a:pt x="159" y="160"/>
                    </a:cubicBezTo>
                    <a:cubicBezTo>
                      <a:pt x="12" y="160"/>
                      <a:pt x="12" y="160"/>
                      <a:pt x="12" y="160"/>
                    </a:cubicBezTo>
                    <a:cubicBezTo>
                      <a:pt x="12" y="160"/>
                      <a:pt x="12" y="159"/>
                      <a:pt x="12" y="159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59" y="12"/>
                      <a:pt x="159" y="12"/>
                      <a:pt x="159" y="12"/>
                    </a:cubicBezTo>
                    <a:cubicBezTo>
                      <a:pt x="160" y="12"/>
                      <a:pt x="160" y="12"/>
                      <a:pt x="160" y="12"/>
                    </a:cubicBezTo>
                    <a:lnTo>
                      <a:pt x="160" y="1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</p:grpSp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818A106E-81D0-40C7-A35D-FBBCA550B57A}"/>
                </a:ext>
              </a:extLst>
            </p:cNvPr>
            <p:cNvSpPr txBox="1"/>
            <p:nvPr/>
          </p:nvSpPr>
          <p:spPr>
            <a:xfrm>
              <a:off x="7417830" y="3036881"/>
              <a:ext cx="2693670" cy="5607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225">
                <a:defRPr/>
              </a:pPr>
              <a:r>
                <a:rPr lang="en-US" sz="1100" b="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/>
                </a:rPr>
                <a:t>CPU</a:t>
              </a:r>
            </a:p>
          </p:txBody>
        </p:sp>
      </p:grp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ED619EFD-8604-4332-901D-C28322A46F2E}"/>
              </a:ext>
            </a:extLst>
          </p:cNvPr>
          <p:cNvGrpSpPr/>
          <p:nvPr/>
        </p:nvGrpSpPr>
        <p:grpSpPr>
          <a:xfrm>
            <a:off x="8926110" y="5411435"/>
            <a:ext cx="821808" cy="686774"/>
            <a:chOff x="7417830" y="2130188"/>
            <a:chExt cx="2693670" cy="2275044"/>
          </a:xfrm>
        </p:grpSpPr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FA1FB855-35EF-4457-98F5-6EA1D176BACF}"/>
                </a:ext>
              </a:extLst>
            </p:cNvPr>
            <p:cNvGrpSpPr/>
            <p:nvPr/>
          </p:nvGrpSpPr>
          <p:grpSpPr>
            <a:xfrm>
              <a:off x="7627142" y="2130188"/>
              <a:ext cx="2275048" cy="2275044"/>
              <a:chOff x="7675552" y="2178598"/>
              <a:chExt cx="2178228" cy="2178224"/>
            </a:xfrm>
          </p:grpSpPr>
          <p:sp>
            <p:nvSpPr>
              <p:cNvPr id="235" name="Freeform 13">
                <a:extLst>
                  <a:ext uri="{FF2B5EF4-FFF2-40B4-BE49-F238E27FC236}">
                    <a16:creationId xmlns:a16="http://schemas.microsoft.com/office/drawing/2014/main" id="{C52539DD-C618-4430-9C3B-D0341126D5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56993" y="2561340"/>
                <a:ext cx="1427392" cy="1426766"/>
              </a:xfrm>
              <a:custGeom>
                <a:avLst/>
                <a:gdLst>
                  <a:gd name="T0" fmla="*/ 101 w 112"/>
                  <a:gd name="T1" fmla="*/ 0 h 112"/>
                  <a:gd name="T2" fmla="*/ 10 w 112"/>
                  <a:gd name="T3" fmla="*/ 0 h 112"/>
                  <a:gd name="T4" fmla="*/ 0 w 112"/>
                  <a:gd name="T5" fmla="*/ 10 h 112"/>
                  <a:gd name="T6" fmla="*/ 0 w 112"/>
                  <a:gd name="T7" fmla="*/ 101 h 112"/>
                  <a:gd name="T8" fmla="*/ 10 w 112"/>
                  <a:gd name="T9" fmla="*/ 112 h 112"/>
                  <a:gd name="T10" fmla="*/ 101 w 112"/>
                  <a:gd name="T11" fmla="*/ 112 h 112"/>
                  <a:gd name="T12" fmla="*/ 112 w 112"/>
                  <a:gd name="T13" fmla="*/ 101 h 112"/>
                  <a:gd name="T14" fmla="*/ 112 w 112"/>
                  <a:gd name="T15" fmla="*/ 10 h 112"/>
                  <a:gd name="T16" fmla="*/ 101 w 112"/>
                  <a:gd name="T17" fmla="*/ 0 h 112"/>
                  <a:gd name="T18" fmla="*/ 107 w 112"/>
                  <a:gd name="T19" fmla="*/ 101 h 112"/>
                  <a:gd name="T20" fmla="*/ 101 w 112"/>
                  <a:gd name="T21" fmla="*/ 107 h 112"/>
                  <a:gd name="T22" fmla="*/ 10 w 112"/>
                  <a:gd name="T23" fmla="*/ 107 h 112"/>
                  <a:gd name="T24" fmla="*/ 5 w 112"/>
                  <a:gd name="T25" fmla="*/ 101 h 112"/>
                  <a:gd name="T26" fmla="*/ 5 w 112"/>
                  <a:gd name="T27" fmla="*/ 10 h 112"/>
                  <a:gd name="T28" fmla="*/ 10 w 112"/>
                  <a:gd name="T29" fmla="*/ 5 h 112"/>
                  <a:gd name="T30" fmla="*/ 101 w 112"/>
                  <a:gd name="T31" fmla="*/ 5 h 112"/>
                  <a:gd name="T32" fmla="*/ 107 w 112"/>
                  <a:gd name="T33" fmla="*/ 10 h 112"/>
                  <a:gd name="T34" fmla="*/ 107 w 112"/>
                  <a:gd name="T35" fmla="*/ 10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112">
                    <a:moveTo>
                      <a:pt x="10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0" y="107"/>
                      <a:pt x="4" y="112"/>
                      <a:pt x="10" y="112"/>
                    </a:cubicBezTo>
                    <a:cubicBezTo>
                      <a:pt x="101" y="112"/>
                      <a:pt x="101" y="112"/>
                      <a:pt x="101" y="112"/>
                    </a:cubicBezTo>
                    <a:cubicBezTo>
                      <a:pt x="107" y="112"/>
                      <a:pt x="112" y="107"/>
                      <a:pt x="112" y="101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2" y="4"/>
                      <a:pt x="107" y="0"/>
                      <a:pt x="101" y="0"/>
                    </a:cubicBezTo>
                    <a:close/>
                    <a:moveTo>
                      <a:pt x="107" y="101"/>
                    </a:moveTo>
                    <a:cubicBezTo>
                      <a:pt x="107" y="104"/>
                      <a:pt x="104" y="107"/>
                      <a:pt x="101" y="107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7" y="107"/>
                      <a:pt x="5" y="104"/>
                      <a:pt x="5" y="10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7"/>
                      <a:pt x="7" y="5"/>
                      <a:pt x="10" y="5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4" y="5"/>
                      <a:pt x="107" y="7"/>
                      <a:pt x="107" y="10"/>
                    </a:cubicBezTo>
                    <a:lnTo>
                      <a:pt x="107" y="10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  <p:sp>
            <p:nvSpPr>
              <p:cNvPr id="236" name="Freeform 14">
                <a:extLst>
                  <a:ext uri="{FF2B5EF4-FFF2-40B4-BE49-F238E27FC236}">
                    <a16:creationId xmlns:a16="http://schemas.microsoft.com/office/drawing/2014/main" id="{FAC9AE7A-5A65-4B7B-8157-C86449EF42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75552" y="2178598"/>
                <a:ext cx="2178228" cy="2178224"/>
              </a:xfrm>
              <a:custGeom>
                <a:avLst/>
                <a:gdLst>
                  <a:gd name="T0" fmla="*/ 165 w 171"/>
                  <a:gd name="T1" fmla="*/ 13 h 171"/>
                  <a:gd name="T2" fmla="*/ 158 w 171"/>
                  <a:gd name="T3" fmla="*/ 6 h 171"/>
                  <a:gd name="T4" fmla="*/ 153 w 171"/>
                  <a:gd name="T5" fmla="*/ 6 h 171"/>
                  <a:gd name="T6" fmla="*/ 139 w 171"/>
                  <a:gd name="T7" fmla="*/ 0 h 171"/>
                  <a:gd name="T8" fmla="*/ 127 w 171"/>
                  <a:gd name="T9" fmla="*/ 0 h 171"/>
                  <a:gd name="T10" fmla="*/ 113 w 171"/>
                  <a:gd name="T11" fmla="*/ 6 h 171"/>
                  <a:gd name="T12" fmla="*/ 108 w 171"/>
                  <a:gd name="T13" fmla="*/ 6 h 171"/>
                  <a:gd name="T14" fmla="*/ 91 w 171"/>
                  <a:gd name="T15" fmla="*/ 0 h 171"/>
                  <a:gd name="T16" fmla="*/ 80 w 171"/>
                  <a:gd name="T17" fmla="*/ 0 h 171"/>
                  <a:gd name="T18" fmla="*/ 66 w 171"/>
                  <a:gd name="T19" fmla="*/ 6 h 171"/>
                  <a:gd name="T20" fmla="*/ 61 w 171"/>
                  <a:gd name="T21" fmla="*/ 6 h 171"/>
                  <a:gd name="T22" fmla="*/ 44 w 171"/>
                  <a:gd name="T23" fmla="*/ 0 h 171"/>
                  <a:gd name="T24" fmla="*/ 35 w 171"/>
                  <a:gd name="T25" fmla="*/ 0 h 171"/>
                  <a:gd name="T26" fmla="*/ 18 w 171"/>
                  <a:gd name="T27" fmla="*/ 6 h 171"/>
                  <a:gd name="T28" fmla="*/ 13 w 171"/>
                  <a:gd name="T29" fmla="*/ 6 h 171"/>
                  <a:gd name="T30" fmla="*/ 7 w 171"/>
                  <a:gd name="T31" fmla="*/ 13 h 171"/>
                  <a:gd name="T32" fmla="*/ 7 w 171"/>
                  <a:gd name="T33" fmla="*/ 18 h 171"/>
                  <a:gd name="T34" fmla="*/ 0 w 171"/>
                  <a:gd name="T35" fmla="*/ 35 h 171"/>
                  <a:gd name="T36" fmla="*/ 0 w 171"/>
                  <a:gd name="T37" fmla="*/ 44 h 171"/>
                  <a:gd name="T38" fmla="*/ 7 w 171"/>
                  <a:gd name="T39" fmla="*/ 60 h 171"/>
                  <a:gd name="T40" fmla="*/ 7 w 171"/>
                  <a:gd name="T41" fmla="*/ 66 h 171"/>
                  <a:gd name="T42" fmla="*/ 0 w 171"/>
                  <a:gd name="T43" fmla="*/ 80 h 171"/>
                  <a:gd name="T44" fmla="*/ 0 w 171"/>
                  <a:gd name="T45" fmla="*/ 91 h 171"/>
                  <a:gd name="T46" fmla="*/ 7 w 171"/>
                  <a:gd name="T47" fmla="*/ 108 h 171"/>
                  <a:gd name="T48" fmla="*/ 7 w 171"/>
                  <a:gd name="T49" fmla="*/ 113 h 171"/>
                  <a:gd name="T50" fmla="*/ 0 w 171"/>
                  <a:gd name="T51" fmla="*/ 127 h 171"/>
                  <a:gd name="T52" fmla="*/ 0 w 171"/>
                  <a:gd name="T53" fmla="*/ 139 h 171"/>
                  <a:gd name="T54" fmla="*/ 7 w 171"/>
                  <a:gd name="T55" fmla="*/ 153 h 171"/>
                  <a:gd name="T56" fmla="*/ 7 w 171"/>
                  <a:gd name="T57" fmla="*/ 158 h 171"/>
                  <a:gd name="T58" fmla="*/ 13 w 171"/>
                  <a:gd name="T59" fmla="*/ 165 h 171"/>
                  <a:gd name="T60" fmla="*/ 18 w 171"/>
                  <a:gd name="T61" fmla="*/ 165 h 171"/>
                  <a:gd name="T62" fmla="*/ 35 w 171"/>
                  <a:gd name="T63" fmla="*/ 171 h 171"/>
                  <a:gd name="T64" fmla="*/ 44 w 171"/>
                  <a:gd name="T65" fmla="*/ 171 h 171"/>
                  <a:gd name="T66" fmla="*/ 61 w 171"/>
                  <a:gd name="T67" fmla="*/ 165 h 171"/>
                  <a:gd name="T68" fmla="*/ 66 w 171"/>
                  <a:gd name="T69" fmla="*/ 165 h 171"/>
                  <a:gd name="T70" fmla="*/ 80 w 171"/>
                  <a:gd name="T71" fmla="*/ 171 h 171"/>
                  <a:gd name="T72" fmla="*/ 91 w 171"/>
                  <a:gd name="T73" fmla="*/ 171 h 171"/>
                  <a:gd name="T74" fmla="*/ 108 w 171"/>
                  <a:gd name="T75" fmla="*/ 165 h 171"/>
                  <a:gd name="T76" fmla="*/ 113 w 171"/>
                  <a:gd name="T77" fmla="*/ 165 h 171"/>
                  <a:gd name="T78" fmla="*/ 127 w 171"/>
                  <a:gd name="T79" fmla="*/ 171 h 171"/>
                  <a:gd name="T80" fmla="*/ 139 w 171"/>
                  <a:gd name="T81" fmla="*/ 171 h 171"/>
                  <a:gd name="T82" fmla="*/ 153 w 171"/>
                  <a:gd name="T83" fmla="*/ 165 h 171"/>
                  <a:gd name="T84" fmla="*/ 158 w 171"/>
                  <a:gd name="T85" fmla="*/ 165 h 171"/>
                  <a:gd name="T86" fmla="*/ 165 w 171"/>
                  <a:gd name="T87" fmla="*/ 158 h 171"/>
                  <a:gd name="T88" fmla="*/ 165 w 171"/>
                  <a:gd name="T89" fmla="*/ 153 h 171"/>
                  <a:gd name="T90" fmla="*/ 171 w 171"/>
                  <a:gd name="T91" fmla="*/ 139 h 171"/>
                  <a:gd name="T92" fmla="*/ 171 w 171"/>
                  <a:gd name="T93" fmla="*/ 127 h 171"/>
                  <a:gd name="T94" fmla="*/ 165 w 171"/>
                  <a:gd name="T95" fmla="*/ 113 h 171"/>
                  <a:gd name="T96" fmla="*/ 165 w 171"/>
                  <a:gd name="T97" fmla="*/ 108 h 171"/>
                  <a:gd name="T98" fmla="*/ 171 w 171"/>
                  <a:gd name="T99" fmla="*/ 91 h 171"/>
                  <a:gd name="T100" fmla="*/ 171 w 171"/>
                  <a:gd name="T101" fmla="*/ 80 h 171"/>
                  <a:gd name="T102" fmla="*/ 165 w 171"/>
                  <a:gd name="T103" fmla="*/ 66 h 171"/>
                  <a:gd name="T104" fmla="*/ 165 w 171"/>
                  <a:gd name="T105" fmla="*/ 60 h 171"/>
                  <a:gd name="T106" fmla="*/ 171 w 171"/>
                  <a:gd name="T107" fmla="*/ 44 h 171"/>
                  <a:gd name="T108" fmla="*/ 171 w 171"/>
                  <a:gd name="T109" fmla="*/ 35 h 171"/>
                  <a:gd name="T110" fmla="*/ 165 w 171"/>
                  <a:gd name="T111" fmla="*/ 18 h 171"/>
                  <a:gd name="T112" fmla="*/ 159 w 171"/>
                  <a:gd name="T113" fmla="*/ 160 h 171"/>
                  <a:gd name="T114" fmla="*/ 12 w 171"/>
                  <a:gd name="T115" fmla="*/ 12 h 171"/>
                  <a:gd name="T116" fmla="*/ 160 w 171"/>
                  <a:gd name="T117" fmla="*/ 12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1" h="171">
                    <a:moveTo>
                      <a:pt x="171" y="18"/>
                    </a:moveTo>
                    <a:cubicBezTo>
                      <a:pt x="171" y="13"/>
                      <a:pt x="171" y="13"/>
                      <a:pt x="171" y="13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2"/>
                      <a:pt x="165" y="12"/>
                      <a:pt x="165" y="12"/>
                    </a:cubicBezTo>
                    <a:cubicBezTo>
                      <a:pt x="165" y="9"/>
                      <a:pt x="162" y="6"/>
                      <a:pt x="159" y="6"/>
                    </a:cubicBezTo>
                    <a:cubicBezTo>
                      <a:pt x="158" y="6"/>
                      <a:pt x="158" y="6"/>
                      <a:pt x="158" y="6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53" y="6"/>
                      <a:pt x="153" y="6"/>
                      <a:pt x="153" y="6"/>
                    </a:cubicBezTo>
                    <a:cubicBezTo>
                      <a:pt x="144" y="6"/>
                      <a:pt x="144" y="6"/>
                      <a:pt x="144" y="6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139" y="0"/>
                      <a:pt x="139" y="0"/>
                      <a:pt x="139" y="0"/>
                    </a:cubicBezTo>
                    <a:cubicBezTo>
                      <a:pt x="139" y="6"/>
                      <a:pt x="139" y="6"/>
                      <a:pt x="139" y="6"/>
                    </a:cubicBezTo>
                    <a:cubicBezTo>
                      <a:pt x="127" y="6"/>
                      <a:pt x="127" y="6"/>
                      <a:pt x="127" y="6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6"/>
                      <a:pt x="91" y="6"/>
                      <a:pt x="91" y="6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66" y="6"/>
                      <a:pt x="66" y="6"/>
                      <a:pt x="66" y="6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9" y="6"/>
                      <a:pt x="7" y="9"/>
                      <a:pt x="7" y="12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75"/>
                      <a:pt x="7" y="75"/>
                      <a:pt x="7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7" y="108"/>
                      <a:pt x="7" y="108"/>
                      <a:pt x="7" y="10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7" y="122"/>
                      <a:pt x="7" y="122"/>
                      <a:pt x="7" y="122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7" y="127"/>
                      <a:pt x="7" y="127"/>
                      <a:pt x="7" y="127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4"/>
                      <a:pt x="7" y="144"/>
                      <a:pt x="7" y="144"/>
                    </a:cubicBezTo>
                    <a:cubicBezTo>
                      <a:pt x="7" y="153"/>
                      <a:pt x="7" y="153"/>
                      <a:pt x="7" y="153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159"/>
                      <a:pt x="7" y="159"/>
                      <a:pt x="7" y="159"/>
                    </a:cubicBezTo>
                    <a:cubicBezTo>
                      <a:pt x="7" y="162"/>
                      <a:pt x="9" y="165"/>
                      <a:pt x="12" y="165"/>
                    </a:cubicBezTo>
                    <a:cubicBezTo>
                      <a:pt x="13" y="165"/>
                      <a:pt x="13" y="165"/>
                      <a:pt x="13" y="165"/>
                    </a:cubicBezTo>
                    <a:cubicBezTo>
                      <a:pt x="13" y="171"/>
                      <a:pt x="13" y="171"/>
                      <a:pt x="13" y="171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8" y="165"/>
                      <a:pt x="18" y="165"/>
                      <a:pt x="18" y="165"/>
                    </a:cubicBezTo>
                    <a:cubicBezTo>
                      <a:pt x="30" y="165"/>
                      <a:pt x="30" y="165"/>
                      <a:pt x="30" y="165"/>
                    </a:cubicBezTo>
                    <a:cubicBezTo>
                      <a:pt x="30" y="171"/>
                      <a:pt x="30" y="171"/>
                      <a:pt x="30" y="171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5" y="165"/>
                      <a:pt x="35" y="165"/>
                      <a:pt x="35" y="165"/>
                    </a:cubicBezTo>
                    <a:cubicBezTo>
                      <a:pt x="44" y="165"/>
                      <a:pt x="44" y="165"/>
                      <a:pt x="44" y="165"/>
                    </a:cubicBezTo>
                    <a:cubicBezTo>
                      <a:pt x="44" y="171"/>
                      <a:pt x="44" y="171"/>
                      <a:pt x="44" y="171"/>
                    </a:cubicBezTo>
                    <a:cubicBezTo>
                      <a:pt x="49" y="171"/>
                      <a:pt x="49" y="171"/>
                      <a:pt x="49" y="171"/>
                    </a:cubicBezTo>
                    <a:cubicBezTo>
                      <a:pt x="49" y="165"/>
                      <a:pt x="49" y="165"/>
                      <a:pt x="49" y="165"/>
                    </a:cubicBezTo>
                    <a:cubicBezTo>
                      <a:pt x="61" y="165"/>
                      <a:pt x="61" y="165"/>
                      <a:pt x="61" y="165"/>
                    </a:cubicBezTo>
                    <a:cubicBezTo>
                      <a:pt x="61" y="171"/>
                      <a:pt x="61" y="171"/>
                      <a:pt x="61" y="171"/>
                    </a:cubicBezTo>
                    <a:cubicBezTo>
                      <a:pt x="66" y="171"/>
                      <a:pt x="66" y="171"/>
                      <a:pt x="66" y="171"/>
                    </a:cubicBezTo>
                    <a:cubicBezTo>
                      <a:pt x="66" y="165"/>
                      <a:pt x="66" y="165"/>
                      <a:pt x="66" y="165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5" y="171"/>
                      <a:pt x="75" y="171"/>
                      <a:pt x="75" y="171"/>
                    </a:cubicBezTo>
                    <a:cubicBezTo>
                      <a:pt x="80" y="171"/>
                      <a:pt x="80" y="171"/>
                      <a:pt x="80" y="171"/>
                    </a:cubicBezTo>
                    <a:cubicBezTo>
                      <a:pt x="80" y="165"/>
                      <a:pt x="80" y="165"/>
                      <a:pt x="80" y="165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91" y="171"/>
                      <a:pt x="91" y="171"/>
                      <a:pt x="91" y="171"/>
                    </a:cubicBezTo>
                    <a:cubicBezTo>
                      <a:pt x="97" y="171"/>
                      <a:pt x="97" y="171"/>
                      <a:pt x="97" y="171"/>
                    </a:cubicBezTo>
                    <a:cubicBezTo>
                      <a:pt x="97" y="165"/>
                      <a:pt x="97" y="165"/>
                      <a:pt x="97" y="165"/>
                    </a:cubicBezTo>
                    <a:cubicBezTo>
                      <a:pt x="108" y="165"/>
                      <a:pt x="108" y="165"/>
                      <a:pt x="108" y="165"/>
                    </a:cubicBezTo>
                    <a:cubicBezTo>
                      <a:pt x="108" y="171"/>
                      <a:pt x="108" y="171"/>
                      <a:pt x="108" y="171"/>
                    </a:cubicBezTo>
                    <a:cubicBezTo>
                      <a:pt x="113" y="171"/>
                      <a:pt x="113" y="171"/>
                      <a:pt x="113" y="171"/>
                    </a:cubicBezTo>
                    <a:cubicBezTo>
                      <a:pt x="113" y="165"/>
                      <a:pt x="113" y="165"/>
                      <a:pt x="113" y="165"/>
                    </a:cubicBezTo>
                    <a:cubicBezTo>
                      <a:pt x="122" y="165"/>
                      <a:pt x="122" y="165"/>
                      <a:pt x="122" y="165"/>
                    </a:cubicBezTo>
                    <a:cubicBezTo>
                      <a:pt x="122" y="171"/>
                      <a:pt x="122" y="171"/>
                      <a:pt x="122" y="171"/>
                    </a:cubicBezTo>
                    <a:cubicBezTo>
                      <a:pt x="127" y="171"/>
                      <a:pt x="127" y="171"/>
                      <a:pt x="127" y="171"/>
                    </a:cubicBezTo>
                    <a:cubicBezTo>
                      <a:pt x="127" y="165"/>
                      <a:pt x="127" y="165"/>
                      <a:pt x="127" y="165"/>
                    </a:cubicBezTo>
                    <a:cubicBezTo>
                      <a:pt x="139" y="165"/>
                      <a:pt x="139" y="165"/>
                      <a:pt x="139" y="165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44" y="171"/>
                      <a:pt x="144" y="171"/>
                      <a:pt x="144" y="171"/>
                    </a:cubicBezTo>
                    <a:cubicBezTo>
                      <a:pt x="144" y="165"/>
                      <a:pt x="144" y="165"/>
                      <a:pt x="144" y="165"/>
                    </a:cubicBezTo>
                    <a:cubicBezTo>
                      <a:pt x="153" y="165"/>
                      <a:pt x="153" y="165"/>
                      <a:pt x="153" y="165"/>
                    </a:cubicBezTo>
                    <a:cubicBezTo>
                      <a:pt x="153" y="171"/>
                      <a:pt x="153" y="171"/>
                      <a:pt x="153" y="171"/>
                    </a:cubicBezTo>
                    <a:cubicBezTo>
                      <a:pt x="158" y="171"/>
                      <a:pt x="158" y="171"/>
                      <a:pt x="158" y="171"/>
                    </a:cubicBezTo>
                    <a:cubicBezTo>
                      <a:pt x="158" y="165"/>
                      <a:pt x="158" y="165"/>
                      <a:pt x="158" y="165"/>
                    </a:cubicBezTo>
                    <a:cubicBezTo>
                      <a:pt x="159" y="165"/>
                      <a:pt x="159" y="165"/>
                      <a:pt x="159" y="165"/>
                    </a:cubicBezTo>
                    <a:cubicBezTo>
                      <a:pt x="162" y="165"/>
                      <a:pt x="165" y="162"/>
                      <a:pt x="165" y="159"/>
                    </a:cubicBezTo>
                    <a:cubicBezTo>
                      <a:pt x="165" y="158"/>
                      <a:pt x="165" y="158"/>
                      <a:pt x="165" y="158"/>
                    </a:cubicBezTo>
                    <a:cubicBezTo>
                      <a:pt x="171" y="158"/>
                      <a:pt x="171" y="158"/>
                      <a:pt x="171" y="158"/>
                    </a:cubicBezTo>
                    <a:cubicBezTo>
                      <a:pt x="171" y="153"/>
                      <a:pt x="171" y="153"/>
                      <a:pt x="171" y="153"/>
                    </a:cubicBezTo>
                    <a:cubicBezTo>
                      <a:pt x="165" y="153"/>
                      <a:pt x="165" y="153"/>
                      <a:pt x="165" y="153"/>
                    </a:cubicBezTo>
                    <a:cubicBezTo>
                      <a:pt x="165" y="144"/>
                      <a:pt x="165" y="144"/>
                      <a:pt x="165" y="144"/>
                    </a:cubicBezTo>
                    <a:cubicBezTo>
                      <a:pt x="171" y="144"/>
                      <a:pt x="171" y="144"/>
                      <a:pt x="171" y="144"/>
                    </a:cubicBezTo>
                    <a:cubicBezTo>
                      <a:pt x="171" y="139"/>
                      <a:pt x="171" y="139"/>
                      <a:pt x="171" y="139"/>
                    </a:cubicBezTo>
                    <a:cubicBezTo>
                      <a:pt x="165" y="139"/>
                      <a:pt x="165" y="139"/>
                      <a:pt x="165" y="139"/>
                    </a:cubicBezTo>
                    <a:cubicBezTo>
                      <a:pt x="165" y="127"/>
                      <a:pt x="165" y="127"/>
                      <a:pt x="165" y="127"/>
                    </a:cubicBezTo>
                    <a:cubicBezTo>
                      <a:pt x="171" y="127"/>
                      <a:pt x="171" y="127"/>
                      <a:pt x="171" y="127"/>
                    </a:cubicBezTo>
                    <a:cubicBezTo>
                      <a:pt x="171" y="122"/>
                      <a:pt x="171" y="122"/>
                      <a:pt x="171" y="122"/>
                    </a:cubicBezTo>
                    <a:cubicBezTo>
                      <a:pt x="165" y="122"/>
                      <a:pt x="165" y="122"/>
                      <a:pt x="165" y="122"/>
                    </a:cubicBezTo>
                    <a:cubicBezTo>
                      <a:pt x="165" y="113"/>
                      <a:pt x="165" y="113"/>
                      <a:pt x="165" y="113"/>
                    </a:cubicBezTo>
                    <a:cubicBezTo>
                      <a:pt x="171" y="113"/>
                      <a:pt x="171" y="113"/>
                      <a:pt x="171" y="113"/>
                    </a:cubicBezTo>
                    <a:cubicBezTo>
                      <a:pt x="171" y="108"/>
                      <a:pt x="171" y="108"/>
                      <a:pt x="171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97"/>
                      <a:pt x="165" y="97"/>
                      <a:pt x="165" y="97"/>
                    </a:cubicBezTo>
                    <a:cubicBezTo>
                      <a:pt x="171" y="97"/>
                      <a:pt x="171" y="97"/>
                      <a:pt x="171" y="97"/>
                    </a:cubicBezTo>
                    <a:cubicBezTo>
                      <a:pt x="171" y="91"/>
                      <a:pt x="171" y="91"/>
                      <a:pt x="171" y="91"/>
                    </a:cubicBezTo>
                    <a:cubicBezTo>
                      <a:pt x="165" y="91"/>
                      <a:pt x="165" y="91"/>
                      <a:pt x="165" y="91"/>
                    </a:cubicBezTo>
                    <a:cubicBezTo>
                      <a:pt x="165" y="80"/>
                      <a:pt x="165" y="80"/>
                      <a:pt x="165" y="80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75"/>
                      <a:pt x="171" y="75"/>
                      <a:pt x="171" y="75"/>
                    </a:cubicBezTo>
                    <a:cubicBezTo>
                      <a:pt x="165" y="75"/>
                      <a:pt x="165" y="75"/>
                      <a:pt x="165" y="75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71" y="66"/>
                      <a:pt x="171" y="66"/>
                      <a:pt x="171" y="66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5" y="49"/>
                      <a:pt x="165" y="49"/>
                      <a:pt x="165" y="49"/>
                    </a:cubicBezTo>
                    <a:cubicBezTo>
                      <a:pt x="171" y="49"/>
                      <a:pt x="171" y="49"/>
                      <a:pt x="171" y="49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65" y="44"/>
                      <a:pt x="165" y="44"/>
                      <a:pt x="165" y="44"/>
                    </a:cubicBezTo>
                    <a:cubicBezTo>
                      <a:pt x="165" y="35"/>
                      <a:pt x="165" y="35"/>
                      <a:pt x="165" y="35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5" y="30"/>
                      <a:pt x="165" y="30"/>
                      <a:pt x="165" y="30"/>
                    </a:cubicBezTo>
                    <a:cubicBezTo>
                      <a:pt x="165" y="18"/>
                      <a:pt x="165" y="18"/>
                      <a:pt x="165" y="18"/>
                    </a:cubicBezTo>
                    <a:lnTo>
                      <a:pt x="171" y="18"/>
                    </a:lnTo>
                    <a:close/>
                    <a:moveTo>
                      <a:pt x="160" y="159"/>
                    </a:moveTo>
                    <a:cubicBezTo>
                      <a:pt x="160" y="159"/>
                      <a:pt x="160" y="160"/>
                      <a:pt x="159" y="160"/>
                    </a:cubicBezTo>
                    <a:cubicBezTo>
                      <a:pt x="12" y="160"/>
                      <a:pt x="12" y="160"/>
                      <a:pt x="12" y="160"/>
                    </a:cubicBezTo>
                    <a:cubicBezTo>
                      <a:pt x="12" y="160"/>
                      <a:pt x="12" y="159"/>
                      <a:pt x="12" y="159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59" y="12"/>
                      <a:pt x="159" y="12"/>
                      <a:pt x="159" y="12"/>
                    </a:cubicBezTo>
                    <a:cubicBezTo>
                      <a:pt x="160" y="12"/>
                      <a:pt x="160" y="12"/>
                      <a:pt x="160" y="12"/>
                    </a:cubicBezTo>
                    <a:lnTo>
                      <a:pt x="160" y="1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</p:grpSp>
        <p:sp>
          <p:nvSpPr>
            <p:cNvPr id="234" name="TextBox 233">
              <a:extLst>
                <a:ext uri="{FF2B5EF4-FFF2-40B4-BE49-F238E27FC236}">
                  <a16:creationId xmlns:a16="http://schemas.microsoft.com/office/drawing/2014/main" id="{C05CD3E0-2819-4E00-91A9-C836E411EA22}"/>
                </a:ext>
              </a:extLst>
            </p:cNvPr>
            <p:cNvSpPr txBox="1"/>
            <p:nvPr/>
          </p:nvSpPr>
          <p:spPr>
            <a:xfrm>
              <a:off x="7417830" y="3036881"/>
              <a:ext cx="2693670" cy="5607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225">
                <a:defRPr/>
              </a:pPr>
              <a:r>
                <a:rPr lang="en-US" sz="1100" b="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/>
                </a:rPr>
                <a:t>GPU</a:t>
              </a:r>
            </a:p>
          </p:txBody>
        </p:sp>
      </p:grpSp>
      <p:sp>
        <p:nvSpPr>
          <p:cNvPr id="253" name="TextBox 252">
            <a:extLst>
              <a:ext uri="{FF2B5EF4-FFF2-40B4-BE49-F238E27FC236}">
                <a16:creationId xmlns:a16="http://schemas.microsoft.com/office/drawing/2014/main" id="{A7B78B86-8308-46FE-9341-F83AFEFE1A5F}"/>
              </a:ext>
            </a:extLst>
          </p:cNvPr>
          <p:cNvSpPr txBox="1"/>
          <p:nvPr/>
        </p:nvSpPr>
        <p:spPr>
          <a:xfrm>
            <a:off x="10329087" y="4572941"/>
            <a:ext cx="1315444" cy="346584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achine Learning</a:t>
            </a:r>
            <a:b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9FC829E-9B42-40C3-B032-EB03BDFEDEC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9380" y="4082492"/>
            <a:ext cx="454857" cy="454115"/>
          </a:xfrm>
          <a:prstGeom prst="rect">
            <a:avLst/>
          </a:prstGeom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DC1F3478-7F13-4FF5-B489-EFB791E197F9}"/>
              </a:ext>
            </a:extLst>
          </p:cNvPr>
          <p:cNvSpPr txBox="1"/>
          <p:nvPr/>
        </p:nvSpPr>
        <p:spPr>
          <a:xfrm>
            <a:off x="8554226" y="2046979"/>
            <a:ext cx="1878326" cy="434897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50" i="1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gnitive Services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6488381-C1C2-4B1C-B2F4-F34B417EE14C}"/>
              </a:ext>
            </a:extLst>
          </p:cNvPr>
          <p:cNvGrpSpPr/>
          <p:nvPr/>
        </p:nvGrpSpPr>
        <p:grpSpPr>
          <a:xfrm>
            <a:off x="10446309" y="5426380"/>
            <a:ext cx="821808" cy="686774"/>
            <a:chOff x="7417830" y="2130188"/>
            <a:chExt cx="2693670" cy="2275044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7456AA6-796F-4FF1-B22B-3078C4612C07}"/>
                </a:ext>
              </a:extLst>
            </p:cNvPr>
            <p:cNvGrpSpPr/>
            <p:nvPr/>
          </p:nvGrpSpPr>
          <p:grpSpPr>
            <a:xfrm>
              <a:off x="7627142" y="2130188"/>
              <a:ext cx="2275048" cy="2275044"/>
              <a:chOff x="7675552" y="2178598"/>
              <a:chExt cx="2178228" cy="2178224"/>
            </a:xfrm>
          </p:grpSpPr>
          <p:sp>
            <p:nvSpPr>
              <p:cNvPr id="52" name="Freeform 13">
                <a:extLst>
                  <a:ext uri="{FF2B5EF4-FFF2-40B4-BE49-F238E27FC236}">
                    <a16:creationId xmlns:a16="http://schemas.microsoft.com/office/drawing/2014/main" id="{A727841B-62ED-4D01-8EB3-71344A669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56993" y="2561340"/>
                <a:ext cx="1427392" cy="1426766"/>
              </a:xfrm>
              <a:custGeom>
                <a:avLst/>
                <a:gdLst>
                  <a:gd name="T0" fmla="*/ 101 w 112"/>
                  <a:gd name="T1" fmla="*/ 0 h 112"/>
                  <a:gd name="T2" fmla="*/ 10 w 112"/>
                  <a:gd name="T3" fmla="*/ 0 h 112"/>
                  <a:gd name="T4" fmla="*/ 0 w 112"/>
                  <a:gd name="T5" fmla="*/ 10 h 112"/>
                  <a:gd name="T6" fmla="*/ 0 w 112"/>
                  <a:gd name="T7" fmla="*/ 101 h 112"/>
                  <a:gd name="T8" fmla="*/ 10 w 112"/>
                  <a:gd name="T9" fmla="*/ 112 h 112"/>
                  <a:gd name="T10" fmla="*/ 101 w 112"/>
                  <a:gd name="T11" fmla="*/ 112 h 112"/>
                  <a:gd name="T12" fmla="*/ 112 w 112"/>
                  <a:gd name="T13" fmla="*/ 101 h 112"/>
                  <a:gd name="T14" fmla="*/ 112 w 112"/>
                  <a:gd name="T15" fmla="*/ 10 h 112"/>
                  <a:gd name="T16" fmla="*/ 101 w 112"/>
                  <a:gd name="T17" fmla="*/ 0 h 112"/>
                  <a:gd name="T18" fmla="*/ 107 w 112"/>
                  <a:gd name="T19" fmla="*/ 101 h 112"/>
                  <a:gd name="T20" fmla="*/ 101 w 112"/>
                  <a:gd name="T21" fmla="*/ 107 h 112"/>
                  <a:gd name="T22" fmla="*/ 10 w 112"/>
                  <a:gd name="T23" fmla="*/ 107 h 112"/>
                  <a:gd name="T24" fmla="*/ 5 w 112"/>
                  <a:gd name="T25" fmla="*/ 101 h 112"/>
                  <a:gd name="T26" fmla="*/ 5 w 112"/>
                  <a:gd name="T27" fmla="*/ 10 h 112"/>
                  <a:gd name="T28" fmla="*/ 10 w 112"/>
                  <a:gd name="T29" fmla="*/ 5 h 112"/>
                  <a:gd name="T30" fmla="*/ 101 w 112"/>
                  <a:gd name="T31" fmla="*/ 5 h 112"/>
                  <a:gd name="T32" fmla="*/ 107 w 112"/>
                  <a:gd name="T33" fmla="*/ 10 h 112"/>
                  <a:gd name="T34" fmla="*/ 107 w 112"/>
                  <a:gd name="T35" fmla="*/ 10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112">
                    <a:moveTo>
                      <a:pt x="10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0" y="107"/>
                      <a:pt x="4" y="112"/>
                      <a:pt x="10" y="112"/>
                    </a:cubicBezTo>
                    <a:cubicBezTo>
                      <a:pt x="101" y="112"/>
                      <a:pt x="101" y="112"/>
                      <a:pt x="101" y="112"/>
                    </a:cubicBezTo>
                    <a:cubicBezTo>
                      <a:pt x="107" y="112"/>
                      <a:pt x="112" y="107"/>
                      <a:pt x="112" y="101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2" y="4"/>
                      <a:pt x="107" y="0"/>
                      <a:pt x="101" y="0"/>
                    </a:cubicBezTo>
                    <a:close/>
                    <a:moveTo>
                      <a:pt x="107" y="101"/>
                    </a:moveTo>
                    <a:cubicBezTo>
                      <a:pt x="107" y="104"/>
                      <a:pt x="104" y="107"/>
                      <a:pt x="101" y="107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7" y="107"/>
                      <a:pt x="5" y="104"/>
                      <a:pt x="5" y="10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7"/>
                      <a:pt x="7" y="5"/>
                      <a:pt x="10" y="5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4" y="5"/>
                      <a:pt x="107" y="7"/>
                      <a:pt x="107" y="10"/>
                    </a:cubicBezTo>
                    <a:lnTo>
                      <a:pt x="107" y="10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  <p:sp>
            <p:nvSpPr>
              <p:cNvPr id="53" name="Freeform 14">
                <a:extLst>
                  <a:ext uri="{FF2B5EF4-FFF2-40B4-BE49-F238E27FC236}">
                    <a16:creationId xmlns:a16="http://schemas.microsoft.com/office/drawing/2014/main" id="{77554711-795A-4383-B5DE-3F3B9A34A9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75552" y="2178598"/>
                <a:ext cx="2178228" cy="2178224"/>
              </a:xfrm>
              <a:custGeom>
                <a:avLst/>
                <a:gdLst>
                  <a:gd name="T0" fmla="*/ 165 w 171"/>
                  <a:gd name="T1" fmla="*/ 13 h 171"/>
                  <a:gd name="T2" fmla="*/ 158 w 171"/>
                  <a:gd name="T3" fmla="*/ 6 h 171"/>
                  <a:gd name="T4" fmla="*/ 153 w 171"/>
                  <a:gd name="T5" fmla="*/ 6 h 171"/>
                  <a:gd name="T6" fmla="*/ 139 w 171"/>
                  <a:gd name="T7" fmla="*/ 0 h 171"/>
                  <a:gd name="T8" fmla="*/ 127 w 171"/>
                  <a:gd name="T9" fmla="*/ 0 h 171"/>
                  <a:gd name="T10" fmla="*/ 113 w 171"/>
                  <a:gd name="T11" fmla="*/ 6 h 171"/>
                  <a:gd name="T12" fmla="*/ 108 w 171"/>
                  <a:gd name="T13" fmla="*/ 6 h 171"/>
                  <a:gd name="T14" fmla="*/ 91 w 171"/>
                  <a:gd name="T15" fmla="*/ 0 h 171"/>
                  <a:gd name="T16" fmla="*/ 80 w 171"/>
                  <a:gd name="T17" fmla="*/ 0 h 171"/>
                  <a:gd name="T18" fmla="*/ 66 w 171"/>
                  <a:gd name="T19" fmla="*/ 6 h 171"/>
                  <a:gd name="T20" fmla="*/ 61 w 171"/>
                  <a:gd name="T21" fmla="*/ 6 h 171"/>
                  <a:gd name="T22" fmla="*/ 44 w 171"/>
                  <a:gd name="T23" fmla="*/ 0 h 171"/>
                  <a:gd name="T24" fmla="*/ 35 w 171"/>
                  <a:gd name="T25" fmla="*/ 0 h 171"/>
                  <a:gd name="T26" fmla="*/ 18 w 171"/>
                  <a:gd name="T27" fmla="*/ 6 h 171"/>
                  <a:gd name="T28" fmla="*/ 13 w 171"/>
                  <a:gd name="T29" fmla="*/ 6 h 171"/>
                  <a:gd name="T30" fmla="*/ 7 w 171"/>
                  <a:gd name="T31" fmla="*/ 13 h 171"/>
                  <a:gd name="T32" fmla="*/ 7 w 171"/>
                  <a:gd name="T33" fmla="*/ 18 h 171"/>
                  <a:gd name="T34" fmla="*/ 0 w 171"/>
                  <a:gd name="T35" fmla="*/ 35 h 171"/>
                  <a:gd name="T36" fmla="*/ 0 w 171"/>
                  <a:gd name="T37" fmla="*/ 44 h 171"/>
                  <a:gd name="T38" fmla="*/ 7 w 171"/>
                  <a:gd name="T39" fmla="*/ 60 h 171"/>
                  <a:gd name="T40" fmla="*/ 7 w 171"/>
                  <a:gd name="T41" fmla="*/ 66 h 171"/>
                  <a:gd name="T42" fmla="*/ 0 w 171"/>
                  <a:gd name="T43" fmla="*/ 80 h 171"/>
                  <a:gd name="T44" fmla="*/ 0 w 171"/>
                  <a:gd name="T45" fmla="*/ 91 h 171"/>
                  <a:gd name="T46" fmla="*/ 7 w 171"/>
                  <a:gd name="T47" fmla="*/ 108 h 171"/>
                  <a:gd name="T48" fmla="*/ 7 w 171"/>
                  <a:gd name="T49" fmla="*/ 113 h 171"/>
                  <a:gd name="T50" fmla="*/ 0 w 171"/>
                  <a:gd name="T51" fmla="*/ 127 h 171"/>
                  <a:gd name="T52" fmla="*/ 0 w 171"/>
                  <a:gd name="T53" fmla="*/ 139 h 171"/>
                  <a:gd name="T54" fmla="*/ 7 w 171"/>
                  <a:gd name="T55" fmla="*/ 153 h 171"/>
                  <a:gd name="T56" fmla="*/ 7 w 171"/>
                  <a:gd name="T57" fmla="*/ 158 h 171"/>
                  <a:gd name="T58" fmla="*/ 13 w 171"/>
                  <a:gd name="T59" fmla="*/ 165 h 171"/>
                  <a:gd name="T60" fmla="*/ 18 w 171"/>
                  <a:gd name="T61" fmla="*/ 165 h 171"/>
                  <a:gd name="T62" fmla="*/ 35 w 171"/>
                  <a:gd name="T63" fmla="*/ 171 h 171"/>
                  <a:gd name="T64" fmla="*/ 44 w 171"/>
                  <a:gd name="T65" fmla="*/ 171 h 171"/>
                  <a:gd name="T66" fmla="*/ 61 w 171"/>
                  <a:gd name="T67" fmla="*/ 165 h 171"/>
                  <a:gd name="T68" fmla="*/ 66 w 171"/>
                  <a:gd name="T69" fmla="*/ 165 h 171"/>
                  <a:gd name="T70" fmla="*/ 80 w 171"/>
                  <a:gd name="T71" fmla="*/ 171 h 171"/>
                  <a:gd name="T72" fmla="*/ 91 w 171"/>
                  <a:gd name="T73" fmla="*/ 171 h 171"/>
                  <a:gd name="T74" fmla="*/ 108 w 171"/>
                  <a:gd name="T75" fmla="*/ 165 h 171"/>
                  <a:gd name="T76" fmla="*/ 113 w 171"/>
                  <a:gd name="T77" fmla="*/ 165 h 171"/>
                  <a:gd name="T78" fmla="*/ 127 w 171"/>
                  <a:gd name="T79" fmla="*/ 171 h 171"/>
                  <a:gd name="T80" fmla="*/ 139 w 171"/>
                  <a:gd name="T81" fmla="*/ 171 h 171"/>
                  <a:gd name="T82" fmla="*/ 153 w 171"/>
                  <a:gd name="T83" fmla="*/ 165 h 171"/>
                  <a:gd name="T84" fmla="*/ 158 w 171"/>
                  <a:gd name="T85" fmla="*/ 165 h 171"/>
                  <a:gd name="T86" fmla="*/ 165 w 171"/>
                  <a:gd name="T87" fmla="*/ 158 h 171"/>
                  <a:gd name="T88" fmla="*/ 165 w 171"/>
                  <a:gd name="T89" fmla="*/ 153 h 171"/>
                  <a:gd name="T90" fmla="*/ 171 w 171"/>
                  <a:gd name="T91" fmla="*/ 139 h 171"/>
                  <a:gd name="T92" fmla="*/ 171 w 171"/>
                  <a:gd name="T93" fmla="*/ 127 h 171"/>
                  <a:gd name="T94" fmla="*/ 165 w 171"/>
                  <a:gd name="T95" fmla="*/ 113 h 171"/>
                  <a:gd name="T96" fmla="*/ 165 w 171"/>
                  <a:gd name="T97" fmla="*/ 108 h 171"/>
                  <a:gd name="T98" fmla="*/ 171 w 171"/>
                  <a:gd name="T99" fmla="*/ 91 h 171"/>
                  <a:gd name="T100" fmla="*/ 171 w 171"/>
                  <a:gd name="T101" fmla="*/ 80 h 171"/>
                  <a:gd name="T102" fmla="*/ 165 w 171"/>
                  <a:gd name="T103" fmla="*/ 66 h 171"/>
                  <a:gd name="T104" fmla="*/ 165 w 171"/>
                  <a:gd name="T105" fmla="*/ 60 h 171"/>
                  <a:gd name="T106" fmla="*/ 171 w 171"/>
                  <a:gd name="T107" fmla="*/ 44 h 171"/>
                  <a:gd name="T108" fmla="*/ 171 w 171"/>
                  <a:gd name="T109" fmla="*/ 35 h 171"/>
                  <a:gd name="T110" fmla="*/ 165 w 171"/>
                  <a:gd name="T111" fmla="*/ 18 h 171"/>
                  <a:gd name="T112" fmla="*/ 159 w 171"/>
                  <a:gd name="T113" fmla="*/ 160 h 171"/>
                  <a:gd name="T114" fmla="*/ 12 w 171"/>
                  <a:gd name="T115" fmla="*/ 12 h 171"/>
                  <a:gd name="T116" fmla="*/ 160 w 171"/>
                  <a:gd name="T117" fmla="*/ 12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1" h="171">
                    <a:moveTo>
                      <a:pt x="171" y="18"/>
                    </a:moveTo>
                    <a:cubicBezTo>
                      <a:pt x="171" y="13"/>
                      <a:pt x="171" y="13"/>
                      <a:pt x="171" y="13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2"/>
                      <a:pt x="165" y="12"/>
                      <a:pt x="165" y="12"/>
                    </a:cubicBezTo>
                    <a:cubicBezTo>
                      <a:pt x="165" y="9"/>
                      <a:pt x="162" y="6"/>
                      <a:pt x="159" y="6"/>
                    </a:cubicBezTo>
                    <a:cubicBezTo>
                      <a:pt x="158" y="6"/>
                      <a:pt x="158" y="6"/>
                      <a:pt x="158" y="6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53" y="6"/>
                      <a:pt x="153" y="6"/>
                      <a:pt x="153" y="6"/>
                    </a:cubicBezTo>
                    <a:cubicBezTo>
                      <a:pt x="144" y="6"/>
                      <a:pt x="144" y="6"/>
                      <a:pt x="144" y="6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139" y="0"/>
                      <a:pt x="139" y="0"/>
                      <a:pt x="139" y="0"/>
                    </a:cubicBezTo>
                    <a:cubicBezTo>
                      <a:pt x="139" y="6"/>
                      <a:pt x="139" y="6"/>
                      <a:pt x="139" y="6"/>
                    </a:cubicBezTo>
                    <a:cubicBezTo>
                      <a:pt x="127" y="6"/>
                      <a:pt x="127" y="6"/>
                      <a:pt x="127" y="6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6"/>
                      <a:pt x="91" y="6"/>
                      <a:pt x="91" y="6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66" y="6"/>
                      <a:pt x="66" y="6"/>
                      <a:pt x="66" y="6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9" y="6"/>
                      <a:pt x="7" y="9"/>
                      <a:pt x="7" y="12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75"/>
                      <a:pt x="7" y="75"/>
                      <a:pt x="7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7" y="108"/>
                      <a:pt x="7" y="108"/>
                      <a:pt x="7" y="10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7" y="122"/>
                      <a:pt x="7" y="122"/>
                      <a:pt x="7" y="122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7" y="127"/>
                      <a:pt x="7" y="127"/>
                      <a:pt x="7" y="127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4"/>
                      <a:pt x="7" y="144"/>
                      <a:pt x="7" y="144"/>
                    </a:cubicBezTo>
                    <a:cubicBezTo>
                      <a:pt x="7" y="153"/>
                      <a:pt x="7" y="153"/>
                      <a:pt x="7" y="153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159"/>
                      <a:pt x="7" y="159"/>
                      <a:pt x="7" y="159"/>
                    </a:cubicBezTo>
                    <a:cubicBezTo>
                      <a:pt x="7" y="162"/>
                      <a:pt x="9" y="165"/>
                      <a:pt x="12" y="165"/>
                    </a:cubicBezTo>
                    <a:cubicBezTo>
                      <a:pt x="13" y="165"/>
                      <a:pt x="13" y="165"/>
                      <a:pt x="13" y="165"/>
                    </a:cubicBezTo>
                    <a:cubicBezTo>
                      <a:pt x="13" y="171"/>
                      <a:pt x="13" y="171"/>
                      <a:pt x="13" y="171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8" y="165"/>
                      <a:pt x="18" y="165"/>
                      <a:pt x="18" y="165"/>
                    </a:cubicBezTo>
                    <a:cubicBezTo>
                      <a:pt x="30" y="165"/>
                      <a:pt x="30" y="165"/>
                      <a:pt x="30" y="165"/>
                    </a:cubicBezTo>
                    <a:cubicBezTo>
                      <a:pt x="30" y="171"/>
                      <a:pt x="30" y="171"/>
                      <a:pt x="30" y="171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5" y="165"/>
                      <a:pt x="35" y="165"/>
                      <a:pt x="35" y="165"/>
                    </a:cubicBezTo>
                    <a:cubicBezTo>
                      <a:pt x="44" y="165"/>
                      <a:pt x="44" y="165"/>
                      <a:pt x="44" y="165"/>
                    </a:cubicBezTo>
                    <a:cubicBezTo>
                      <a:pt x="44" y="171"/>
                      <a:pt x="44" y="171"/>
                      <a:pt x="44" y="171"/>
                    </a:cubicBezTo>
                    <a:cubicBezTo>
                      <a:pt x="49" y="171"/>
                      <a:pt x="49" y="171"/>
                      <a:pt x="49" y="171"/>
                    </a:cubicBezTo>
                    <a:cubicBezTo>
                      <a:pt x="49" y="165"/>
                      <a:pt x="49" y="165"/>
                      <a:pt x="49" y="165"/>
                    </a:cubicBezTo>
                    <a:cubicBezTo>
                      <a:pt x="61" y="165"/>
                      <a:pt x="61" y="165"/>
                      <a:pt x="61" y="165"/>
                    </a:cubicBezTo>
                    <a:cubicBezTo>
                      <a:pt x="61" y="171"/>
                      <a:pt x="61" y="171"/>
                      <a:pt x="61" y="171"/>
                    </a:cubicBezTo>
                    <a:cubicBezTo>
                      <a:pt x="66" y="171"/>
                      <a:pt x="66" y="171"/>
                      <a:pt x="66" y="171"/>
                    </a:cubicBezTo>
                    <a:cubicBezTo>
                      <a:pt x="66" y="165"/>
                      <a:pt x="66" y="165"/>
                      <a:pt x="66" y="165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5" y="171"/>
                      <a:pt x="75" y="171"/>
                      <a:pt x="75" y="171"/>
                    </a:cubicBezTo>
                    <a:cubicBezTo>
                      <a:pt x="80" y="171"/>
                      <a:pt x="80" y="171"/>
                      <a:pt x="80" y="171"/>
                    </a:cubicBezTo>
                    <a:cubicBezTo>
                      <a:pt x="80" y="165"/>
                      <a:pt x="80" y="165"/>
                      <a:pt x="80" y="165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91" y="171"/>
                      <a:pt x="91" y="171"/>
                      <a:pt x="91" y="171"/>
                    </a:cubicBezTo>
                    <a:cubicBezTo>
                      <a:pt x="97" y="171"/>
                      <a:pt x="97" y="171"/>
                      <a:pt x="97" y="171"/>
                    </a:cubicBezTo>
                    <a:cubicBezTo>
                      <a:pt x="97" y="165"/>
                      <a:pt x="97" y="165"/>
                      <a:pt x="97" y="165"/>
                    </a:cubicBezTo>
                    <a:cubicBezTo>
                      <a:pt x="108" y="165"/>
                      <a:pt x="108" y="165"/>
                      <a:pt x="108" y="165"/>
                    </a:cubicBezTo>
                    <a:cubicBezTo>
                      <a:pt x="108" y="171"/>
                      <a:pt x="108" y="171"/>
                      <a:pt x="108" y="171"/>
                    </a:cubicBezTo>
                    <a:cubicBezTo>
                      <a:pt x="113" y="171"/>
                      <a:pt x="113" y="171"/>
                      <a:pt x="113" y="171"/>
                    </a:cubicBezTo>
                    <a:cubicBezTo>
                      <a:pt x="113" y="165"/>
                      <a:pt x="113" y="165"/>
                      <a:pt x="113" y="165"/>
                    </a:cubicBezTo>
                    <a:cubicBezTo>
                      <a:pt x="122" y="165"/>
                      <a:pt x="122" y="165"/>
                      <a:pt x="122" y="165"/>
                    </a:cubicBezTo>
                    <a:cubicBezTo>
                      <a:pt x="122" y="171"/>
                      <a:pt x="122" y="171"/>
                      <a:pt x="122" y="171"/>
                    </a:cubicBezTo>
                    <a:cubicBezTo>
                      <a:pt x="127" y="171"/>
                      <a:pt x="127" y="171"/>
                      <a:pt x="127" y="171"/>
                    </a:cubicBezTo>
                    <a:cubicBezTo>
                      <a:pt x="127" y="165"/>
                      <a:pt x="127" y="165"/>
                      <a:pt x="127" y="165"/>
                    </a:cubicBezTo>
                    <a:cubicBezTo>
                      <a:pt x="139" y="165"/>
                      <a:pt x="139" y="165"/>
                      <a:pt x="139" y="165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44" y="171"/>
                      <a:pt x="144" y="171"/>
                      <a:pt x="144" y="171"/>
                    </a:cubicBezTo>
                    <a:cubicBezTo>
                      <a:pt x="144" y="165"/>
                      <a:pt x="144" y="165"/>
                      <a:pt x="144" y="165"/>
                    </a:cubicBezTo>
                    <a:cubicBezTo>
                      <a:pt x="153" y="165"/>
                      <a:pt x="153" y="165"/>
                      <a:pt x="153" y="165"/>
                    </a:cubicBezTo>
                    <a:cubicBezTo>
                      <a:pt x="153" y="171"/>
                      <a:pt x="153" y="171"/>
                      <a:pt x="153" y="171"/>
                    </a:cubicBezTo>
                    <a:cubicBezTo>
                      <a:pt x="158" y="171"/>
                      <a:pt x="158" y="171"/>
                      <a:pt x="158" y="171"/>
                    </a:cubicBezTo>
                    <a:cubicBezTo>
                      <a:pt x="158" y="165"/>
                      <a:pt x="158" y="165"/>
                      <a:pt x="158" y="165"/>
                    </a:cubicBezTo>
                    <a:cubicBezTo>
                      <a:pt x="159" y="165"/>
                      <a:pt x="159" y="165"/>
                      <a:pt x="159" y="165"/>
                    </a:cubicBezTo>
                    <a:cubicBezTo>
                      <a:pt x="162" y="165"/>
                      <a:pt x="165" y="162"/>
                      <a:pt x="165" y="159"/>
                    </a:cubicBezTo>
                    <a:cubicBezTo>
                      <a:pt x="165" y="158"/>
                      <a:pt x="165" y="158"/>
                      <a:pt x="165" y="158"/>
                    </a:cubicBezTo>
                    <a:cubicBezTo>
                      <a:pt x="171" y="158"/>
                      <a:pt x="171" y="158"/>
                      <a:pt x="171" y="158"/>
                    </a:cubicBezTo>
                    <a:cubicBezTo>
                      <a:pt x="171" y="153"/>
                      <a:pt x="171" y="153"/>
                      <a:pt x="171" y="153"/>
                    </a:cubicBezTo>
                    <a:cubicBezTo>
                      <a:pt x="165" y="153"/>
                      <a:pt x="165" y="153"/>
                      <a:pt x="165" y="153"/>
                    </a:cubicBezTo>
                    <a:cubicBezTo>
                      <a:pt x="165" y="144"/>
                      <a:pt x="165" y="144"/>
                      <a:pt x="165" y="144"/>
                    </a:cubicBezTo>
                    <a:cubicBezTo>
                      <a:pt x="171" y="144"/>
                      <a:pt x="171" y="144"/>
                      <a:pt x="171" y="144"/>
                    </a:cubicBezTo>
                    <a:cubicBezTo>
                      <a:pt x="171" y="139"/>
                      <a:pt x="171" y="139"/>
                      <a:pt x="171" y="139"/>
                    </a:cubicBezTo>
                    <a:cubicBezTo>
                      <a:pt x="165" y="139"/>
                      <a:pt x="165" y="139"/>
                      <a:pt x="165" y="139"/>
                    </a:cubicBezTo>
                    <a:cubicBezTo>
                      <a:pt x="165" y="127"/>
                      <a:pt x="165" y="127"/>
                      <a:pt x="165" y="127"/>
                    </a:cubicBezTo>
                    <a:cubicBezTo>
                      <a:pt x="171" y="127"/>
                      <a:pt x="171" y="127"/>
                      <a:pt x="171" y="127"/>
                    </a:cubicBezTo>
                    <a:cubicBezTo>
                      <a:pt x="171" y="122"/>
                      <a:pt x="171" y="122"/>
                      <a:pt x="171" y="122"/>
                    </a:cubicBezTo>
                    <a:cubicBezTo>
                      <a:pt x="165" y="122"/>
                      <a:pt x="165" y="122"/>
                      <a:pt x="165" y="122"/>
                    </a:cubicBezTo>
                    <a:cubicBezTo>
                      <a:pt x="165" y="113"/>
                      <a:pt x="165" y="113"/>
                      <a:pt x="165" y="113"/>
                    </a:cubicBezTo>
                    <a:cubicBezTo>
                      <a:pt x="171" y="113"/>
                      <a:pt x="171" y="113"/>
                      <a:pt x="171" y="113"/>
                    </a:cubicBezTo>
                    <a:cubicBezTo>
                      <a:pt x="171" y="108"/>
                      <a:pt x="171" y="108"/>
                      <a:pt x="171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97"/>
                      <a:pt x="165" y="97"/>
                      <a:pt x="165" y="97"/>
                    </a:cubicBezTo>
                    <a:cubicBezTo>
                      <a:pt x="171" y="97"/>
                      <a:pt x="171" y="97"/>
                      <a:pt x="171" y="97"/>
                    </a:cubicBezTo>
                    <a:cubicBezTo>
                      <a:pt x="171" y="91"/>
                      <a:pt x="171" y="91"/>
                      <a:pt x="171" y="91"/>
                    </a:cubicBezTo>
                    <a:cubicBezTo>
                      <a:pt x="165" y="91"/>
                      <a:pt x="165" y="91"/>
                      <a:pt x="165" y="91"/>
                    </a:cubicBezTo>
                    <a:cubicBezTo>
                      <a:pt x="165" y="80"/>
                      <a:pt x="165" y="80"/>
                      <a:pt x="165" y="80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75"/>
                      <a:pt x="171" y="75"/>
                      <a:pt x="171" y="75"/>
                    </a:cubicBezTo>
                    <a:cubicBezTo>
                      <a:pt x="165" y="75"/>
                      <a:pt x="165" y="75"/>
                      <a:pt x="165" y="75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71" y="66"/>
                      <a:pt x="171" y="66"/>
                      <a:pt x="171" y="66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5" y="49"/>
                      <a:pt x="165" y="49"/>
                      <a:pt x="165" y="49"/>
                    </a:cubicBezTo>
                    <a:cubicBezTo>
                      <a:pt x="171" y="49"/>
                      <a:pt x="171" y="49"/>
                      <a:pt x="171" y="49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65" y="44"/>
                      <a:pt x="165" y="44"/>
                      <a:pt x="165" y="44"/>
                    </a:cubicBezTo>
                    <a:cubicBezTo>
                      <a:pt x="165" y="35"/>
                      <a:pt x="165" y="35"/>
                      <a:pt x="165" y="35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5" y="30"/>
                      <a:pt x="165" y="30"/>
                      <a:pt x="165" y="30"/>
                    </a:cubicBezTo>
                    <a:cubicBezTo>
                      <a:pt x="165" y="18"/>
                      <a:pt x="165" y="18"/>
                      <a:pt x="165" y="18"/>
                    </a:cubicBezTo>
                    <a:lnTo>
                      <a:pt x="171" y="18"/>
                    </a:lnTo>
                    <a:close/>
                    <a:moveTo>
                      <a:pt x="160" y="159"/>
                    </a:moveTo>
                    <a:cubicBezTo>
                      <a:pt x="160" y="159"/>
                      <a:pt x="160" y="160"/>
                      <a:pt x="159" y="160"/>
                    </a:cubicBezTo>
                    <a:cubicBezTo>
                      <a:pt x="12" y="160"/>
                      <a:pt x="12" y="160"/>
                      <a:pt x="12" y="160"/>
                    </a:cubicBezTo>
                    <a:cubicBezTo>
                      <a:pt x="12" y="160"/>
                      <a:pt x="12" y="159"/>
                      <a:pt x="12" y="159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59" y="12"/>
                      <a:pt x="159" y="12"/>
                      <a:pt x="159" y="12"/>
                    </a:cubicBezTo>
                    <a:cubicBezTo>
                      <a:pt x="160" y="12"/>
                      <a:pt x="160" y="12"/>
                      <a:pt x="160" y="12"/>
                    </a:cubicBezTo>
                    <a:lnTo>
                      <a:pt x="160" y="1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7535330-F15A-4F0A-8065-7A3BAB0F9D0C}"/>
                </a:ext>
              </a:extLst>
            </p:cNvPr>
            <p:cNvSpPr txBox="1"/>
            <p:nvPr/>
          </p:nvSpPr>
          <p:spPr>
            <a:xfrm>
              <a:off x="7417830" y="3036881"/>
              <a:ext cx="2693670" cy="5607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225">
                <a:defRPr/>
              </a:pPr>
              <a:r>
                <a:rPr lang="en-US" sz="1100" b="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/>
                </a:rPr>
                <a:t>FPGA</a:t>
              </a: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6A4FAE2B-9588-4A28-94BB-5B3EFB5A0DE7}"/>
              </a:ext>
            </a:extLst>
          </p:cNvPr>
          <p:cNvSpPr/>
          <p:nvPr/>
        </p:nvSpPr>
        <p:spPr bwMode="auto">
          <a:xfrm>
            <a:off x="587522" y="2585045"/>
            <a:ext cx="6422311" cy="1124491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dirty="0">
                <a:solidFill>
                  <a:srgbClr val="D83B01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opular frameworks</a:t>
            </a: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D83B01"/>
                </a:solidFill>
                <a:latin typeface="Segoe UI"/>
                <a:cs typeface="Segoe UI" pitchFamily="34" charset="0"/>
              </a:rPr>
              <a:t>Build sophisticated deep learning solutions 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E2836CD-6137-4902-A3C6-37B55EF19549}"/>
              </a:ext>
            </a:extLst>
          </p:cNvPr>
          <p:cNvSpPr/>
          <p:nvPr/>
        </p:nvSpPr>
        <p:spPr bwMode="auto">
          <a:xfrm>
            <a:off x="7009832" y="2585045"/>
            <a:ext cx="4747597" cy="112449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829532FF-D564-4661-A740-554FC7F02803}"/>
              </a:ext>
            </a:extLst>
          </p:cNvPr>
          <p:cNvSpPr txBox="1"/>
          <p:nvPr/>
        </p:nvSpPr>
        <p:spPr>
          <a:xfrm>
            <a:off x="8295428" y="3278779"/>
            <a:ext cx="1075908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nsorFlow</a:t>
            </a:r>
          </a:p>
        </p:txBody>
      </p:sp>
      <p:pic>
        <p:nvPicPr>
          <p:cNvPr id="85" name="Picture 28" descr="https://azurecomcdn.azureedge.net/cvt-ac80aa5765a8bbc401f8575a9a4ab433859699f4b8e1d0d7159ec4bfaa892f91/images/page/overview/ai-platform/pytorch.png">
            <a:extLst>
              <a:ext uri="{FF2B5EF4-FFF2-40B4-BE49-F238E27FC236}">
                <a16:creationId xmlns:a16="http://schemas.microsoft.com/office/drawing/2014/main" id="{7D5780A7-E4CD-4368-845A-4BCB6FADE8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0389" y="2929498"/>
            <a:ext cx="312843" cy="293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32">
            <a:extLst>
              <a:ext uri="{FF2B5EF4-FFF2-40B4-BE49-F238E27FC236}">
                <a16:creationId xmlns:a16="http://schemas.microsoft.com/office/drawing/2014/main" id="{DA789442-F58A-4BEC-A990-21E0FA355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10882453" y="2898685"/>
            <a:ext cx="368149" cy="35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D37E0079-D766-439D-9682-7731256030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799924" y="2929498"/>
            <a:ext cx="300061" cy="293242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42D80C43-A18E-474B-9563-806388E9A31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93167" y="2911315"/>
            <a:ext cx="280431" cy="300061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9C59FE23-7B09-4F3A-BED8-33859174D527}"/>
              </a:ext>
            </a:extLst>
          </p:cNvPr>
          <p:cNvSpPr txBox="1"/>
          <p:nvPr/>
        </p:nvSpPr>
        <p:spPr>
          <a:xfrm>
            <a:off x="9412000" y="3278779"/>
            <a:ext cx="1075908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Keras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760949C-48DC-48D1-AF14-93D0EA255EAF}"/>
              </a:ext>
            </a:extLst>
          </p:cNvPr>
          <p:cNvSpPr txBox="1"/>
          <p:nvPr/>
        </p:nvSpPr>
        <p:spPr>
          <a:xfrm>
            <a:off x="7178855" y="3278779"/>
            <a:ext cx="1075908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ytorch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9175F7C-129D-4100-9EC8-A0CD13DD5241}"/>
              </a:ext>
            </a:extLst>
          </p:cNvPr>
          <p:cNvSpPr txBox="1"/>
          <p:nvPr/>
        </p:nvSpPr>
        <p:spPr>
          <a:xfrm>
            <a:off x="10528572" y="3278779"/>
            <a:ext cx="1075908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nnx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9458EFC7-F94F-4CAE-93AB-AFDC26BFA5C7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233785" y="4124226"/>
            <a:ext cx="387137" cy="387137"/>
          </a:xfrm>
          <a:prstGeom prst="rect">
            <a:avLst/>
          </a:prstGeom>
        </p:spPr>
      </p:pic>
      <p:sp>
        <p:nvSpPr>
          <p:cNvPr id="59" name="Graphic 569">
            <a:extLst>
              <a:ext uri="{FF2B5EF4-FFF2-40B4-BE49-F238E27FC236}">
                <a16:creationId xmlns:a16="http://schemas.microsoft.com/office/drawing/2014/main" id="{AE669B2A-80A3-4F2E-B3A5-3DD09ABACC84}"/>
              </a:ext>
            </a:extLst>
          </p:cNvPr>
          <p:cNvSpPr/>
          <p:nvPr/>
        </p:nvSpPr>
        <p:spPr>
          <a:xfrm>
            <a:off x="9854549" y="1543626"/>
            <a:ext cx="313855" cy="282469"/>
          </a:xfrm>
          <a:custGeom>
            <a:avLst/>
            <a:gdLst>
              <a:gd name="connsiteX0" fmla="*/ 5886 w 313899"/>
              <a:gd name="connsiteY0" fmla="*/ 177745 h 282508"/>
              <a:gd name="connsiteX1" fmla="*/ 73374 w 313899"/>
              <a:gd name="connsiteY1" fmla="*/ 5886 h 282508"/>
              <a:gd name="connsiteX2" fmla="*/ 134192 w 313899"/>
              <a:gd name="connsiteY2" fmla="*/ 177745 h 282508"/>
              <a:gd name="connsiteX3" fmla="*/ 27859 w 313899"/>
              <a:gd name="connsiteY3" fmla="*/ 121636 h 282508"/>
              <a:gd name="connsiteX4" fmla="*/ 114181 w 313899"/>
              <a:gd name="connsiteY4" fmla="*/ 121636 h 282508"/>
              <a:gd name="connsiteX5" fmla="*/ 247980 w 313899"/>
              <a:gd name="connsiteY5" fmla="*/ 276623 h 282508"/>
              <a:gd name="connsiteX6" fmla="*/ 311153 w 313899"/>
              <a:gd name="connsiteY6" fmla="*/ 218160 h 282508"/>
              <a:gd name="connsiteX7" fmla="*/ 196187 w 313899"/>
              <a:gd name="connsiteY7" fmla="*/ 195794 h 282508"/>
              <a:gd name="connsiteX8" fmla="*/ 205996 w 313899"/>
              <a:gd name="connsiteY8" fmla="*/ 258574 h 282508"/>
              <a:gd name="connsiteX9" fmla="*/ 272308 w 313899"/>
              <a:gd name="connsiteY9" fmla="*/ 164012 h 282508"/>
              <a:gd name="connsiteX10" fmla="*/ 219729 w 313899"/>
              <a:gd name="connsiteY10" fmla="*/ 92992 h 282508"/>
              <a:gd name="connsiteX11" fmla="*/ 228754 w 313899"/>
              <a:gd name="connsiteY11" fmla="*/ 249942 h 282508"/>
              <a:gd name="connsiteX12" fmla="*/ 164405 w 313899"/>
              <a:gd name="connsiteY12" fmla="*/ 131837 h 282508"/>
              <a:gd name="connsiteX13" fmla="*/ 301736 w 313899"/>
              <a:gd name="connsiteY13" fmla="*/ 125559 h 28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3899" h="282508">
                <a:moveTo>
                  <a:pt x="5886" y="177745"/>
                </a:moveTo>
                <a:lnTo>
                  <a:pt x="73374" y="5886"/>
                </a:lnTo>
                <a:lnTo>
                  <a:pt x="134192" y="177745"/>
                </a:lnTo>
                <a:moveTo>
                  <a:pt x="27859" y="121636"/>
                </a:moveTo>
                <a:lnTo>
                  <a:pt x="114181" y="121636"/>
                </a:lnTo>
                <a:moveTo>
                  <a:pt x="247980" y="276623"/>
                </a:moveTo>
                <a:cubicBezTo>
                  <a:pt x="276231" y="275054"/>
                  <a:pt x="314684" y="258182"/>
                  <a:pt x="311153" y="218160"/>
                </a:cubicBezTo>
                <a:cubicBezTo>
                  <a:pt x="308406" y="185200"/>
                  <a:pt x="238563" y="176568"/>
                  <a:pt x="196187" y="195794"/>
                </a:cubicBezTo>
                <a:cubicBezTo>
                  <a:pt x="156165" y="213843"/>
                  <a:pt x="153026" y="269953"/>
                  <a:pt x="205996" y="258574"/>
                </a:cubicBezTo>
                <a:cubicBezTo>
                  <a:pt x="271915" y="244449"/>
                  <a:pt x="272308" y="164012"/>
                  <a:pt x="272308" y="164012"/>
                </a:cubicBezTo>
                <a:moveTo>
                  <a:pt x="219729" y="92992"/>
                </a:moveTo>
                <a:cubicBezTo>
                  <a:pt x="219729" y="92992"/>
                  <a:pt x="207958" y="216198"/>
                  <a:pt x="228754" y="249942"/>
                </a:cubicBezTo>
                <a:moveTo>
                  <a:pt x="164405" y="131837"/>
                </a:moveTo>
                <a:cubicBezTo>
                  <a:pt x="164405" y="131837"/>
                  <a:pt x="237386" y="140862"/>
                  <a:pt x="301736" y="125559"/>
                </a:cubicBezTo>
              </a:path>
            </a:pathLst>
          </a:custGeom>
          <a:noFill/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defTabSz="914225">
              <a:defRPr/>
            </a:pPr>
            <a:endParaRPr lang="en-US" sz="1800" dirty="0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60" name="Rounded Rectangular Callout 243">
            <a:extLst>
              <a:ext uri="{FF2B5EF4-FFF2-40B4-BE49-F238E27FC236}">
                <a16:creationId xmlns:a16="http://schemas.microsoft.com/office/drawing/2014/main" id="{733AFFBE-7C56-4EAC-BB7E-1FA8304FF36A}"/>
              </a:ext>
            </a:extLst>
          </p:cNvPr>
          <p:cNvSpPr/>
          <p:nvPr/>
        </p:nvSpPr>
        <p:spPr bwMode="auto">
          <a:xfrm>
            <a:off x="8637048" y="1601998"/>
            <a:ext cx="247347" cy="165723"/>
          </a:xfrm>
          <a:prstGeom prst="wedgeRoundRectCallout">
            <a:avLst>
              <a:gd name="adj1" fmla="val 30853"/>
              <a:gd name="adj2" fmla="val 79643"/>
              <a:gd name="adj3" fmla="val 16667"/>
            </a:avLst>
          </a:prstGeom>
          <a:solidFill>
            <a:schemeClr val="bg1"/>
          </a:solidFill>
          <a:ln w="158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 dirty="0">
                <a:solidFill>
                  <a:srgbClr val="0078D4"/>
                </a:solidFill>
                <a:latin typeface="Segoe UI"/>
                <a:ea typeface="Segoe UI" pitchFamily="34" charset="0"/>
                <a:cs typeface="Segoe UI" pitchFamily="34" charset="0"/>
              </a:rPr>
              <a:t>…</a:t>
            </a: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666E9C48-3D94-4966-8794-7ACD3B75DEDC}"/>
              </a:ext>
            </a:extLst>
          </p:cNvPr>
          <p:cNvSpPr/>
          <p:nvPr/>
        </p:nvSpPr>
        <p:spPr>
          <a:xfrm flipH="1">
            <a:off x="11082028" y="1544376"/>
            <a:ext cx="280968" cy="280968"/>
          </a:xfrm>
          <a:custGeom>
            <a:avLst/>
            <a:gdLst/>
            <a:ahLst/>
            <a:cxnLst/>
            <a:rect l="0" t="0" r="0" b="0"/>
            <a:pathLst>
              <a:path w="657225" h="657225">
                <a:moveTo>
                  <a:pt x="649248" y="579358"/>
                </a:moveTo>
                <a:lnTo>
                  <a:pt x="464463" y="395526"/>
                </a:lnTo>
                <a:cubicBezTo>
                  <a:pt x="459701" y="390763"/>
                  <a:pt x="453033" y="390763"/>
                  <a:pt x="448271" y="395526"/>
                </a:cubicBezTo>
                <a:lnTo>
                  <a:pt x="439698" y="404098"/>
                </a:lnTo>
                <a:lnTo>
                  <a:pt x="395883" y="360283"/>
                </a:lnTo>
                <a:cubicBezTo>
                  <a:pt x="464463" y="274558"/>
                  <a:pt x="458748" y="149781"/>
                  <a:pt x="379691" y="70723"/>
                </a:cubicBezTo>
                <a:cubicBezTo>
                  <a:pt x="294918" y="-14049"/>
                  <a:pt x="156806" y="-14049"/>
                  <a:pt x="71081" y="70723"/>
                </a:cubicBezTo>
                <a:cubicBezTo>
                  <a:pt x="-14644" y="155496"/>
                  <a:pt x="-13692" y="293608"/>
                  <a:pt x="71081" y="379333"/>
                </a:cubicBezTo>
                <a:cubicBezTo>
                  <a:pt x="150138" y="458391"/>
                  <a:pt x="274916" y="464106"/>
                  <a:pt x="360641" y="395526"/>
                </a:cubicBezTo>
                <a:lnTo>
                  <a:pt x="404456" y="439341"/>
                </a:lnTo>
                <a:lnTo>
                  <a:pt x="395883" y="447913"/>
                </a:lnTo>
                <a:cubicBezTo>
                  <a:pt x="391121" y="452676"/>
                  <a:pt x="391121" y="459343"/>
                  <a:pt x="395883" y="464106"/>
                </a:cubicBezTo>
                <a:lnTo>
                  <a:pt x="579716" y="647938"/>
                </a:lnTo>
                <a:cubicBezTo>
                  <a:pt x="584478" y="652701"/>
                  <a:pt x="591146" y="652701"/>
                  <a:pt x="595908" y="647938"/>
                </a:cubicBezTo>
                <a:lnTo>
                  <a:pt x="647343" y="596503"/>
                </a:lnTo>
                <a:cubicBezTo>
                  <a:pt x="653058" y="591741"/>
                  <a:pt x="653058" y="584121"/>
                  <a:pt x="649248" y="579358"/>
                </a:cubicBezTo>
                <a:close/>
                <a:moveTo>
                  <a:pt x="104418" y="346948"/>
                </a:moveTo>
                <a:cubicBezTo>
                  <a:pt x="36791" y="279321"/>
                  <a:pt x="36791" y="170736"/>
                  <a:pt x="104418" y="103108"/>
                </a:cubicBezTo>
                <a:cubicBezTo>
                  <a:pt x="172046" y="35481"/>
                  <a:pt x="280631" y="35481"/>
                  <a:pt x="348258" y="103108"/>
                </a:cubicBezTo>
                <a:cubicBezTo>
                  <a:pt x="415886" y="170736"/>
                  <a:pt x="415886" y="279321"/>
                  <a:pt x="348258" y="346948"/>
                </a:cubicBezTo>
                <a:cubicBezTo>
                  <a:pt x="280631" y="414576"/>
                  <a:pt x="172046" y="414576"/>
                  <a:pt x="104418" y="34694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defTabSz="914192">
              <a:defRPr/>
            </a:pPr>
            <a:endParaRPr lang="en-US" dirty="0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68" name="eye_2">
            <a:extLst>
              <a:ext uri="{FF2B5EF4-FFF2-40B4-BE49-F238E27FC236}">
                <a16:creationId xmlns:a16="http://schemas.microsoft.com/office/drawing/2014/main" id="{EB5A1F6A-F69D-4C59-95BD-0DA533C3E66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351121" y="1590148"/>
            <a:ext cx="341393" cy="189423"/>
          </a:xfrm>
          <a:custGeom>
            <a:avLst/>
            <a:gdLst>
              <a:gd name="T0" fmla="*/ 5 w 346"/>
              <a:gd name="T1" fmla="*/ 103 h 191"/>
              <a:gd name="T2" fmla="*/ 0 w 346"/>
              <a:gd name="T3" fmla="*/ 96 h 191"/>
              <a:gd name="T4" fmla="*/ 3 w 346"/>
              <a:gd name="T5" fmla="*/ 92 h 191"/>
              <a:gd name="T6" fmla="*/ 5 w 346"/>
              <a:gd name="T7" fmla="*/ 103 h 191"/>
              <a:gd name="T8" fmla="*/ 173 w 346"/>
              <a:gd name="T9" fmla="*/ 191 h 191"/>
              <a:gd name="T10" fmla="*/ 346 w 346"/>
              <a:gd name="T11" fmla="*/ 96 h 191"/>
              <a:gd name="T12" fmla="*/ 173 w 346"/>
              <a:gd name="T13" fmla="*/ 0 h 191"/>
              <a:gd name="T14" fmla="*/ 3 w 346"/>
              <a:gd name="T15" fmla="*/ 92 h 191"/>
              <a:gd name="T16" fmla="*/ 175 w 346"/>
              <a:gd name="T17" fmla="*/ 14 h 191"/>
              <a:gd name="T18" fmla="*/ 89 w 346"/>
              <a:gd name="T19" fmla="*/ 96 h 191"/>
              <a:gd name="T20" fmla="*/ 175 w 346"/>
              <a:gd name="T21" fmla="*/ 178 h 191"/>
              <a:gd name="T22" fmla="*/ 261 w 346"/>
              <a:gd name="T23" fmla="*/ 96 h 191"/>
              <a:gd name="T24" fmla="*/ 175 w 346"/>
              <a:gd name="T25" fmla="*/ 14 h 191"/>
              <a:gd name="T26" fmla="*/ 175 w 346"/>
              <a:gd name="T27" fmla="*/ 78 h 191"/>
              <a:gd name="T28" fmla="*/ 156 w 346"/>
              <a:gd name="T29" fmla="*/ 96 h 191"/>
              <a:gd name="T30" fmla="*/ 175 w 346"/>
              <a:gd name="T31" fmla="*/ 114 h 191"/>
              <a:gd name="T32" fmla="*/ 194 w 346"/>
              <a:gd name="T33" fmla="*/ 96 h 191"/>
              <a:gd name="T34" fmla="*/ 175 w 346"/>
              <a:gd name="T35" fmla="*/ 78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46" h="191">
                <a:moveTo>
                  <a:pt x="5" y="103"/>
                </a:moveTo>
                <a:cubicBezTo>
                  <a:pt x="2" y="98"/>
                  <a:pt x="0" y="96"/>
                  <a:pt x="0" y="96"/>
                </a:cubicBezTo>
                <a:cubicBezTo>
                  <a:pt x="0" y="96"/>
                  <a:pt x="1" y="94"/>
                  <a:pt x="3" y="92"/>
                </a:cubicBezTo>
                <a:moveTo>
                  <a:pt x="5" y="103"/>
                </a:moveTo>
                <a:cubicBezTo>
                  <a:pt x="23" y="125"/>
                  <a:pt x="82" y="191"/>
                  <a:pt x="173" y="191"/>
                </a:cubicBezTo>
                <a:cubicBezTo>
                  <a:pt x="283" y="191"/>
                  <a:pt x="346" y="96"/>
                  <a:pt x="346" y="96"/>
                </a:cubicBezTo>
                <a:cubicBezTo>
                  <a:pt x="346" y="96"/>
                  <a:pt x="283" y="0"/>
                  <a:pt x="173" y="0"/>
                </a:cubicBezTo>
                <a:cubicBezTo>
                  <a:pt x="77" y="0"/>
                  <a:pt x="17" y="73"/>
                  <a:pt x="3" y="92"/>
                </a:cubicBezTo>
                <a:moveTo>
                  <a:pt x="175" y="14"/>
                </a:moveTo>
                <a:cubicBezTo>
                  <a:pt x="128" y="14"/>
                  <a:pt x="89" y="50"/>
                  <a:pt x="89" y="96"/>
                </a:cubicBezTo>
                <a:cubicBezTo>
                  <a:pt x="89" y="141"/>
                  <a:pt x="128" y="178"/>
                  <a:pt x="175" y="178"/>
                </a:cubicBezTo>
                <a:cubicBezTo>
                  <a:pt x="222" y="178"/>
                  <a:pt x="261" y="141"/>
                  <a:pt x="261" y="96"/>
                </a:cubicBezTo>
                <a:cubicBezTo>
                  <a:pt x="261" y="50"/>
                  <a:pt x="222" y="14"/>
                  <a:pt x="175" y="14"/>
                </a:cubicBezTo>
                <a:close/>
                <a:moveTo>
                  <a:pt x="175" y="78"/>
                </a:moveTo>
                <a:cubicBezTo>
                  <a:pt x="165" y="78"/>
                  <a:pt x="156" y="86"/>
                  <a:pt x="156" y="96"/>
                </a:cubicBezTo>
                <a:cubicBezTo>
                  <a:pt x="156" y="106"/>
                  <a:pt x="165" y="114"/>
                  <a:pt x="175" y="114"/>
                </a:cubicBezTo>
                <a:cubicBezTo>
                  <a:pt x="185" y="114"/>
                  <a:pt x="194" y="106"/>
                  <a:pt x="194" y="96"/>
                </a:cubicBezTo>
                <a:cubicBezTo>
                  <a:pt x="194" y="86"/>
                  <a:pt x="185" y="78"/>
                  <a:pt x="175" y="78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sz="1800" dirty="0">
              <a:solidFill>
                <a:srgbClr val="1A1A1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34988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 animBg="1"/>
      <p:bldP spid="108" grpId="0" animBg="1"/>
      <p:bldP spid="109" grpId="0" animBg="1"/>
      <p:bldP spid="110" grpId="0" animBg="1"/>
      <p:bldP spid="112" grpId="0" animBg="1"/>
      <p:bldP spid="113" grpId="0" animBg="1"/>
      <p:bldP spid="118" grpId="0"/>
      <p:bldP spid="175" grpId="0"/>
      <p:bldP spid="176" grpId="0"/>
      <p:bldP spid="178" grpId="0"/>
      <p:bldP spid="218" grpId="0"/>
      <p:bldP spid="219" grpId="0"/>
      <p:bldP spid="253" grpId="0"/>
      <p:bldP spid="254" grpId="0"/>
      <p:bldP spid="72" grpId="0" animBg="1"/>
      <p:bldP spid="73" grpId="0" animBg="1"/>
      <p:bldP spid="81" grpId="0"/>
      <p:bldP spid="95" grpId="0"/>
      <p:bldP spid="96" grpId="0"/>
      <p:bldP spid="97" grpId="0"/>
      <p:bldP spid="59" grpId="0" animBg="1"/>
      <p:bldP spid="60" grpId="0" animBg="1"/>
      <p:bldP spid="63" grpId="0" animBg="1"/>
      <p:bldP spid="6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itle 2"/>
          <p:cNvSpPr>
            <a:spLocks noGrp="1"/>
          </p:cNvSpPr>
          <p:nvPr>
            <p:ph type="title"/>
          </p:nvPr>
        </p:nvSpPr>
        <p:spPr>
          <a:xfrm>
            <a:off x="587522" y="437504"/>
            <a:ext cx="11016957" cy="814661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5294" b="0" dirty="0">
                <a:solidFill>
                  <a:schemeClr val="tx1"/>
                </a:solidFill>
                <a:latin typeface="+mn-lt"/>
              </a:rPr>
              <a:t>Popular Framework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9F8769-80BC-462E-8B6A-AB6138465279}"/>
              </a:ext>
            </a:extLst>
          </p:cNvPr>
          <p:cNvSpPr/>
          <p:nvPr/>
        </p:nvSpPr>
        <p:spPr bwMode="auto">
          <a:xfrm>
            <a:off x="449186" y="2092376"/>
            <a:ext cx="5535310" cy="41790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solidFill>
                <a:srgbClr val="D83B01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3B20809-258E-4D7A-90E3-523C2E67A240}"/>
              </a:ext>
            </a:extLst>
          </p:cNvPr>
          <p:cNvSpPr/>
          <p:nvPr/>
        </p:nvSpPr>
        <p:spPr bwMode="auto">
          <a:xfrm>
            <a:off x="6189545" y="2092376"/>
            <a:ext cx="5535310" cy="417905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8FF9CCA-63FC-4BE0-B83A-21657DFE4FDF}"/>
              </a:ext>
            </a:extLst>
          </p:cNvPr>
          <p:cNvGrpSpPr/>
          <p:nvPr/>
        </p:nvGrpSpPr>
        <p:grpSpPr>
          <a:xfrm>
            <a:off x="5779445" y="3928958"/>
            <a:ext cx="565232" cy="565232"/>
            <a:chOff x="5664926" y="3703417"/>
            <a:chExt cx="565312" cy="565312"/>
          </a:xfrm>
          <a:solidFill>
            <a:schemeClr val="bg1"/>
          </a:solidFill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C91F430-35BE-482F-B7B3-E1804DFC1ECF}"/>
                </a:ext>
              </a:extLst>
            </p:cNvPr>
            <p:cNvSpPr/>
            <p:nvPr/>
          </p:nvSpPr>
          <p:spPr bwMode="auto">
            <a:xfrm>
              <a:off x="5664926" y="3703417"/>
              <a:ext cx="565312" cy="565312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Cross 25">
              <a:extLst>
                <a:ext uri="{FF2B5EF4-FFF2-40B4-BE49-F238E27FC236}">
                  <a16:creationId xmlns:a16="http://schemas.microsoft.com/office/drawing/2014/main" id="{6D090A39-DCDA-4842-B8A0-685BD5A4711D}"/>
                </a:ext>
              </a:extLst>
            </p:cNvPr>
            <p:cNvSpPr/>
            <p:nvPr/>
          </p:nvSpPr>
          <p:spPr bwMode="auto">
            <a:xfrm>
              <a:off x="5836999" y="3877102"/>
              <a:ext cx="217940" cy="217940"/>
            </a:xfrm>
            <a:prstGeom prst="plus">
              <a:avLst>
                <a:gd name="adj" fmla="val 38043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D200D14F-8272-4FB1-891A-BA038CC7D1DF}"/>
              </a:ext>
            </a:extLst>
          </p:cNvPr>
          <p:cNvSpPr/>
          <p:nvPr/>
        </p:nvSpPr>
        <p:spPr>
          <a:xfrm>
            <a:off x="477918" y="2222019"/>
            <a:ext cx="5473576" cy="40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92">
              <a:defRPr/>
            </a:pPr>
            <a:r>
              <a:rPr lang="en-US" sz="2000" dirty="0">
                <a:solidFill>
                  <a:srgbClr val="D83B01"/>
                </a:solidFill>
                <a:latin typeface="Segoe UI Semibold" panose="020B0702040204020203" pitchFamily="34" charset="0"/>
                <a:cs typeface="Segoe UI" charset="0"/>
              </a:rPr>
              <a:t>Use your favorite deep learning frameworks</a:t>
            </a:r>
            <a:endParaRPr lang="en-US" sz="2000" dirty="0">
              <a:solidFill>
                <a:srgbClr val="D83B01"/>
              </a:solidFill>
              <a:latin typeface="Segoe UI"/>
            </a:endParaRPr>
          </a:p>
        </p:txBody>
      </p:sp>
      <p:pic>
        <p:nvPicPr>
          <p:cNvPr id="28" name="Picture 24">
            <a:extLst>
              <a:ext uri="{FF2B5EF4-FFF2-40B4-BE49-F238E27FC236}">
                <a16:creationId xmlns:a16="http://schemas.microsoft.com/office/drawing/2014/main" id="{9DA0EBAF-EA4A-4AF3-B5E7-4C76D0BB7D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1462206" y="3462625"/>
            <a:ext cx="291993" cy="31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6C27449-9B38-46A4-A81C-17FF56D843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2956123" y="3446065"/>
            <a:ext cx="262434" cy="313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2">
            <a:extLst>
              <a:ext uri="{FF2B5EF4-FFF2-40B4-BE49-F238E27FC236}">
                <a16:creationId xmlns:a16="http://schemas.microsoft.com/office/drawing/2014/main" id="{98F0352B-1CCB-4511-8DA7-8CB9E85D70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8652580" y="3313672"/>
            <a:ext cx="433643" cy="423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6">
            <a:extLst>
              <a:ext uri="{FF2B5EF4-FFF2-40B4-BE49-F238E27FC236}">
                <a16:creationId xmlns:a16="http://schemas.microsoft.com/office/drawing/2014/main" id="{3D3A9B22-09B8-4A36-B992-D1973E9FD4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1362722" y="4815335"/>
            <a:ext cx="331426" cy="33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8">
            <a:extLst>
              <a:ext uri="{FF2B5EF4-FFF2-40B4-BE49-F238E27FC236}">
                <a16:creationId xmlns:a16="http://schemas.microsoft.com/office/drawing/2014/main" id="{831E146A-5F40-40B4-A580-0C3F32C72C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2920285" y="4806774"/>
            <a:ext cx="323414" cy="225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>
            <a:extLst>
              <a:ext uri="{FF2B5EF4-FFF2-40B4-BE49-F238E27FC236}">
                <a16:creationId xmlns:a16="http://schemas.microsoft.com/office/drawing/2014/main" id="{8582E8BE-7525-4BD1-943E-1FBD08CAC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4405699" y="3424076"/>
            <a:ext cx="573273" cy="31243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4B942C39-A726-49AB-A59A-670C1B3E402C}"/>
              </a:ext>
            </a:extLst>
          </p:cNvPr>
          <p:cNvSpPr/>
          <p:nvPr/>
        </p:nvSpPr>
        <p:spPr>
          <a:xfrm>
            <a:off x="1238769" y="3870363"/>
            <a:ext cx="752001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nsorFlow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39ED83D-5944-4032-BDA7-4C879E22DA1C}"/>
              </a:ext>
            </a:extLst>
          </p:cNvPr>
          <p:cNvSpPr/>
          <p:nvPr/>
        </p:nvSpPr>
        <p:spPr>
          <a:xfrm>
            <a:off x="2826097" y="3860830"/>
            <a:ext cx="52232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yTorch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5924846-1E5A-47E8-9F71-5C243858A932}"/>
              </a:ext>
            </a:extLst>
          </p:cNvPr>
          <p:cNvSpPr/>
          <p:nvPr/>
        </p:nvSpPr>
        <p:spPr>
          <a:xfrm>
            <a:off x="4298959" y="3831815"/>
            <a:ext cx="786754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ikit-Lear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90D8A30-64C6-416B-A854-DF284CC9D30B}"/>
              </a:ext>
            </a:extLst>
          </p:cNvPr>
          <p:cNvSpPr/>
          <p:nvPr/>
        </p:nvSpPr>
        <p:spPr>
          <a:xfrm>
            <a:off x="1289589" y="5207988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XNe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29B2C1E-5B39-4042-BD10-745058CFE774}"/>
              </a:ext>
            </a:extLst>
          </p:cNvPr>
          <p:cNvSpPr/>
          <p:nvPr/>
        </p:nvSpPr>
        <p:spPr>
          <a:xfrm>
            <a:off x="2823946" y="5146681"/>
            <a:ext cx="516094" cy="1846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iner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50E16951-FA89-48E8-9B77-E053FA614DBE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03796" y="4735219"/>
            <a:ext cx="286807" cy="280289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9C64A58A-D11C-4D90-9290-FB8B88BC6397}"/>
              </a:ext>
            </a:extLst>
          </p:cNvPr>
          <p:cNvSpPr/>
          <p:nvPr/>
        </p:nvSpPr>
        <p:spPr>
          <a:xfrm>
            <a:off x="4564684" y="5167051"/>
            <a:ext cx="36503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ra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EA0287C-CD60-4D88-9A13-10AF58487A0A}"/>
              </a:ext>
            </a:extLst>
          </p:cNvPr>
          <p:cNvSpPr/>
          <p:nvPr/>
        </p:nvSpPr>
        <p:spPr>
          <a:xfrm>
            <a:off x="6189544" y="2222019"/>
            <a:ext cx="5553272" cy="40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92">
              <a:defRPr/>
            </a:pPr>
            <a:r>
              <a:rPr lang="en-US" sz="2000" dirty="0">
                <a:solidFill>
                  <a:srgbClr val="FFFFFF"/>
                </a:solidFill>
                <a:latin typeface="Segoe UI Semibold" panose="020B0702040204020203" pitchFamily="34" charset="0"/>
                <a:cs typeface="Segoe UI" charset="0"/>
              </a:rPr>
              <a:t>without getting locked into one framework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61C5292-DF14-41DF-851F-583059AF69F6}"/>
              </a:ext>
            </a:extLst>
          </p:cNvPr>
          <p:cNvSpPr/>
          <p:nvPr/>
        </p:nvSpPr>
        <p:spPr>
          <a:xfrm>
            <a:off x="8576855" y="3785894"/>
            <a:ext cx="585097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NX</a:t>
            </a:r>
            <a:endParaRPr lang="en-US" sz="12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C4282FC-9501-4BDA-B042-A06DE8404E9D}"/>
              </a:ext>
            </a:extLst>
          </p:cNvPr>
          <p:cNvSpPr/>
          <p:nvPr/>
        </p:nvSpPr>
        <p:spPr>
          <a:xfrm>
            <a:off x="6209408" y="4516957"/>
            <a:ext cx="5515447" cy="828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92">
              <a:spcAft>
                <a:spcPts val="60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Segoe UI Semibold" panose="020B0702040204020203" pitchFamily="34" charset="0"/>
                <a:cs typeface="Segoe UI" charset="0"/>
              </a:rPr>
              <a:t>Community project created by Microsoft and Facebook</a:t>
            </a:r>
          </a:p>
          <a:p>
            <a:pPr defTabSz="914192">
              <a:spcAft>
                <a:spcPts val="60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Segoe UI Semibold" panose="020B0702040204020203" pitchFamily="34" charset="0"/>
                <a:cs typeface="Segoe UI" charset="0"/>
              </a:rPr>
              <a:t>Use the best tool for the job. Train in one framework and transfer to another for infer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A95D9DA-433F-4C07-A481-71FD9B26CB55}"/>
              </a:ext>
            </a:extLst>
          </p:cNvPr>
          <p:cNvSpPr/>
          <p:nvPr/>
        </p:nvSpPr>
        <p:spPr bwMode="auto">
          <a:xfrm>
            <a:off x="11604479" y="122074"/>
            <a:ext cx="502893" cy="881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FFADA71-6C01-4C33-BB84-07CE6CF6E4E3}"/>
              </a:ext>
            </a:extLst>
          </p:cNvPr>
          <p:cNvSpPr/>
          <p:nvPr/>
        </p:nvSpPr>
        <p:spPr bwMode="auto">
          <a:xfrm>
            <a:off x="11604479" y="239567"/>
            <a:ext cx="502893" cy="88167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E2A2878-182E-418A-B90F-6AD591A5994E}"/>
              </a:ext>
            </a:extLst>
          </p:cNvPr>
          <p:cNvSpPr/>
          <p:nvPr/>
        </p:nvSpPr>
        <p:spPr bwMode="auto">
          <a:xfrm>
            <a:off x="11604479" y="357060"/>
            <a:ext cx="502893" cy="881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D309F9-5725-454A-A582-8787BBD42279}"/>
              </a:ext>
            </a:extLst>
          </p:cNvPr>
          <p:cNvSpPr/>
          <p:nvPr/>
        </p:nvSpPr>
        <p:spPr bwMode="auto">
          <a:xfrm>
            <a:off x="11604479" y="474552"/>
            <a:ext cx="502893" cy="881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00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" name="Group 316">
            <a:extLst>
              <a:ext uri="{FF2B5EF4-FFF2-40B4-BE49-F238E27FC236}">
                <a16:creationId xmlns:a16="http://schemas.microsoft.com/office/drawing/2014/main" id="{6C47147B-A550-4FBD-964E-3D93CF25538A}"/>
              </a:ext>
            </a:extLst>
          </p:cNvPr>
          <p:cNvGrpSpPr/>
          <p:nvPr/>
        </p:nvGrpSpPr>
        <p:grpSpPr>
          <a:xfrm>
            <a:off x="7832641" y="4296070"/>
            <a:ext cx="666131" cy="510520"/>
            <a:chOff x="7745277" y="4501551"/>
            <a:chExt cx="931982" cy="714265"/>
          </a:xfrm>
        </p:grpSpPr>
        <p:sp>
          <p:nvSpPr>
            <p:cNvPr id="318" name="monitor">
              <a:extLst>
                <a:ext uri="{FF2B5EF4-FFF2-40B4-BE49-F238E27FC236}">
                  <a16:creationId xmlns:a16="http://schemas.microsoft.com/office/drawing/2014/main" id="{B6431B89-EDA5-42BD-9DCC-40E2749755A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680A8B30-A78B-4E9E-B4E8-22633AFCB296}"/>
                </a:ext>
              </a:extLst>
            </p:cNvPr>
            <p:cNvSpPr txBox="1"/>
            <p:nvPr/>
          </p:nvSpPr>
          <p:spPr>
            <a:xfrm>
              <a:off x="7891677" y="4645916"/>
              <a:ext cx="639186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Dv2</a:t>
              </a:r>
            </a:p>
          </p:txBody>
        </p:sp>
      </p:grpSp>
      <p:sp>
        <p:nvSpPr>
          <p:cNvPr id="64" name="Title 2"/>
          <p:cNvSpPr>
            <a:spLocks noGrp="1"/>
          </p:cNvSpPr>
          <p:nvPr>
            <p:ph type="title"/>
          </p:nvPr>
        </p:nvSpPr>
        <p:spPr>
          <a:xfrm>
            <a:off x="587522" y="437504"/>
            <a:ext cx="11016957" cy="814661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5294" b="0" dirty="0">
                <a:solidFill>
                  <a:schemeClr val="tx1"/>
                </a:solidFill>
                <a:latin typeface="+mn-lt"/>
              </a:rPr>
              <a:t>Azure ML/AI Infrastructure</a:t>
            </a:r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478818D6-EF6E-4ABC-90B0-5BC02C355DA6}"/>
              </a:ext>
            </a:extLst>
          </p:cNvPr>
          <p:cNvGrpSpPr/>
          <p:nvPr/>
        </p:nvGrpSpPr>
        <p:grpSpPr>
          <a:xfrm>
            <a:off x="735189" y="3655294"/>
            <a:ext cx="666131" cy="510520"/>
            <a:chOff x="482514" y="3898203"/>
            <a:chExt cx="865582" cy="663377"/>
          </a:xfrm>
        </p:grpSpPr>
        <p:sp>
          <p:nvSpPr>
            <p:cNvPr id="258" name="monitor">
              <a:extLst>
                <a:ext uri="{FF2B5EF4-FFF2-40B4-BE49-F238E27FC236}">
                  <a16:creationId xmlns:a16="http://schemas.microsoft.com/office/drawing/2014/main" id="{4DF824E9-FA19-4BD4-8BFB-ABCF2C9431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2514" y="3898203"/>
              <a:ext cx="865582" cy="663377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735FF55A-FAB7-484A-AFCE-EA9CDC679E6F}"/>
                </a:ext>
              </a:extLst>
            </p:cNvPr>
            <p:cNvSpPr txBox="1"/>
            <p:nvPr/>
          </p:nvSpPr>
          <p:spPr>
            <a:xfrm>
              <a:off x="834070" y="4032282"/>
              <a:ext cx="162471" cy="2519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G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C7020BD7-3065-4182-8D63-27800A5278F7}"/>
              </a:ext>
            </a:extLst>
          </p:cNvPr>
          <p:cNvGrpSpPr/>
          <p:nvPr/>
        </p:nvGrpSpPr>
        <p:grpSpPr>
          <a:xfrm>
            <a:off x="1714513" y="3655285"/>
            <a:ext cx="666145" cy="510529"/>
            <a:chOff x="1681172" y="3898203"/>
            <a:chExt cx="865603" cy="663392"/>
          </a:xfrm>
        </p:grpSpPr>
        <p:sp>
          <p:nvSpPr>
            <p:cNvPr id="261" name="monitor">
              <a:extLst>
                <a:ext uri="{FF2B5EF4-FFF2-40B4-BE49-F238E27FC236}">
                  <a16:creationId xmlns:a16="http://schemas.microsoft.com/office/drawing/2014/main" id="{7A202243-286A-4F18-A9F7-CA683BA47D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1172" y="3898203"/>
              <a:ext cx="865603" cy="663392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2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3D5864C4-0EFC-4492-AF0F-A58C15486AB4}"/>
                </a:ext>
              </a:extLst>
            </p:cNvPr>
            <p:cNvSpPr txBox="1"/>
            <p:nvPr/>
          </p:nvSpPr>
          <p:spPr>
            <a:xfrm>
              <a:off x="1922387" y="4032282"/>
              <a:ext cx="368687" cy="2519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3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2791F45C-CBE3-467F-82BE-785FB26DBB46}"/>
              </a:ext>
            </a:extLst>
          </p:cNvPr>
          <p:cNvGrpSpPr/>
          <p:nvPr/>
        </p:nvGrpSpPr>
        <p:grpSpPr>
          <a:xfrm>
            <a:off x="2693848" y="3655285"/>
            <a:ext cx="666145" cy="510529"/>
            <a:chOff x="2901150" y="3898203"/>
            <a:chExt cx="865603" cy="663392"/>
          </a:xfrm>
        </p:grpSpPr>
        <p:sp>
          <p:nvSpPr>
            <p:cNvPr id="264" name="monitor">
              <a:extLst>
                <a:ext uri="{FF2B5EF4-FFF2-40B4-BE49-F238E27FC236}">
                  <a16:creationId xmlns:a16="http://schemas.microsoft.com/office/drawing/2014/main" id="{BD505D0A-4D9A-4D92-8C56-FE11E6B8B3C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01150" y="3898203"/>
              <a:ext cx="865603" cy="663392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2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FEBD52B4-0AAB-4359-A4E7-0A918066361F}"/>
                </a:ext>
              </a:extLst>
            </p:cNvPr>
            <p:cNvSpPr txBox="1"/>
            <p:nvPr/>
          </p:nvSpPr>
          <p:spPr>
            <a:xfrm>
              <a:off x="3225636" y="4032282"/>
              <a:ext cx="216630" cy="2519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</a:t>
              </a:r>
            </a:p>
          </p:txBody>
        </p:sp>
      </p:grpSp>
      <p:pic>
        <p:nvPicPr>
          <p:cNvPr id="266" name="Picture 265">
            <a:extLst>
              <a:ext uri="{FF2B5EF4-FFF2-40B4-BE49-F238E27FC236}">
                <a16:creationId xmlns:a16="http://schemas.microsoft.com/office/drawing/2014/main" id="{5EAF85A0-D877-4694-9AE3-5AFA68F4A7C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2703" y="3512061"/>
            <a:ext cx="408073" cy="408073"/>
          </a:xfrm>
          <a:prstGeom prst="rect">
            <a:avLst/>
          </a:prstGeom>
        </p:spPr>
      </p:pic>
      <p:sp>
        <p:nvSpPr>
          <p:cNvPr id="267" name="Rectangle 266">
            <a:extLst>
              <a:ext uri="{FF2B5EF4-FFF2-40B4-BE49-F238E27FC236}">
                <a16:creationId xmlns:a16="http://schemas.microsoft.com/office/drawing/2014/main" id="{DC01CD0D-38EE-409B-99CA-9B27316602D4}"/>
              </a:ext>
            </a:extLst>
          </p:cNvPr>
          <p:cNvSpPr/>
          <p:nvPr/>
        </p:nvSpPr>
        <p:spPr bwMode="auto">
          <a:xfrm>
            <a:off x="452776" y="3316282"/>
            <a:ext cx="3113177" cy="958374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68" name="Picture 267">
            <a:extLst>
              <a:ext uri="{FF2B5EF4-FFF2-40B4-BE49-F238E27FC236}">
                <a16:creationId xmlns:a16="http://schemas.microsoft.com/office/drawing/2014/main" id="{0654CDB0-7D18-4BE0-A19F-B8EC6163C13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2607" y="3512061"/>
            <a:ext cx="408073" cy="408073"/>
          </a:xfrm>
          <a:prstGeom prst="rect">
            <a:avLst/>
          </a:prstGeom>
        </p:spPr>
      </p:pic>
      <p:grpSp>
        <p:nvGrpSpPr>
          <p:cNvPr id="269" name="Group 268">
            <a:extLst>
              <a:ext uri="{FF2B5EF4-FFF2-40B4-BE49-F238E27FC236}">
                <a16:creationId xmlns:a16="http://schemas.microsoft.com/office/drawing/2014/main" id="{9300E2AA-CB67-424E-A7FC-7F92E929D164}"/>
              </a:ext>
            </a:extLst>
          </p:cNvPr>
          <p:cNvGrpSpPr/>
          <p:nvPr/>
        </p:nvGrpSpPr>
        <p:grpSpPr>
          <a:xfrm>
            <a:off x="9634663" y="3062988"/>
            <a:ext cx="1762874" cy="1197529"/>
            <a:chOff x="10191825" y="4362276"/>
            <a:chExt cx="1798478" cy="1221715"/>
          </a:xfrm>
        </p:grpSpPr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D3712CD7-D5EB-409A-95A7-24FA9A2F677C}"/>
                </a:ext>
              </a:extLst>
            </p:cNvPr>
            <p:cNvGrpSpPr/>
            <p:nvPr/>
          </p:nvGrpSpPr>
          <p:grpSpPr>
            <a:xfrm>
              <a:off x="10820931" y="4945353"/>
              <a:ext cx="679584" cy="520830"/>
              <a:chOff x="5869960" y="5545901"/>
              <a:chExt cx="679584" cy="520830"/>
            </a:xfrm>
          </p:grpSpPr>
          <p:sp>
            <p:nvSpPr>
              <p:cNvPr id="276" name="monitor">
                <a:extLst>
                  <a:ext uri="{FF2B5EF4-FFF2-40B4-BE49-F238E27FC236}">
                    <a16:creationId xmlns:a16="http://schemas.microsoft.com/office/drawing/2014/main" id="{24D8D36B-FB3A-4A91-A1F5-CCD62E997F9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869960" y="5545901"/>
                <a:ext cx="679584" cy="520830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solidFill>
                <a:srgbClr val="FFFFFF"/>
              </a:solidFill>
              <a:ln w="15875" cap="sq">
                <a:solidFill>
                  <a:srgbClr val="2F2F2F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sz="1567" kern="0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277" name="TextBox 276">
                <a:extLst>
                  <a:ext uri="{FF2B5EF4-FFF2-40B4-BE49-F238E27FC236}">
                    <a16:creationId xmlns:a16="http://schemas.microsoft.com/office/drawing/2014/main" id="{D493ACE1-D00E-4E95-AAC9-C4BEBA96B4ED}"/>
                  </a:ext>
                </a:extLst>
              </p:cNvPr>
              <p:cNvSpPr txBox="1"/>
              <p:nvPr/>
            </p:nvSpPr>
            <p:spPr>
              <a:xfrm>
                <a:off x="5970304" y="5677251"/>
                <a:ext cx="490025" cy="1978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914192">
                  <a:lnSpc>
                    <a:spcPct val="90000"/>
                  </a:lnSpc>
                  <a:spcAft>
                    <a:spcPts val="588"/>
                  </a:spcAft>
                  <a:defRPr/>
                </a:pPr>
                <a:r>
                  <a:rPr lang="en-US" sz="1400" b="1" kern="0" dirty="0">
                    <a:gradFill>
                      <a:gsLst>
                        <a:gs pos="2917">
                          <a:srgbClr val="353535"/>
                        </a:gs>
                        <a:gs pos="30000">
                          <a:srgbClr val="353535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FPGA</a:t>
                </a:r>
              </a:p>
            </p:txBody>
          </p:sp>
        </p:grp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0927FA83-7D7D-4FB5-8DF0-5F2F3FB3623B}"/>
                </a:ext>
              </a:extLst>
            </p:cNvPr>
            <p:cNvSpPr/>
            <p:nvPr/>
          </p:nvSpPr>
          <p:spPr bwMode="auto">
            <a:xfrm>
              <a:off x="10331144" y="4606261"/>
              <a:ext cx="1659159" cy="977730"/>
            </a:xfrm>
            <a:prstGeom prst="rect">
              <a:avLst/>
            </a:prstGeom>
            <a:noFill/>
            <a:ln w="9525" cap="flat" cmpd="sng" algn="ctr">
              <a:solidFill>
                <a:srgbClr val="FFFFFF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3CD7829B-93AF-4C0F-960D-231AF13E86D4}"/>
                </a:ext>
              </a:extLst>
            </p:cNvPr>
            <p:cNvSpPr/>
            <p:nvPr/>
          </p:nvSpPr>
          <p:spPr bwMode="auto">
            <a:xfrm>
              <a:off x="10531416" y="4362276"/>
              <a:ext cx="792755" cy="516817"/>
            </a:xfrm>
            <a:prstGeom prst="rect">
              <a:avLst/>
            </a:prstGeom>
            <a:solidFill>
              <a:schemeClr val="bg1"/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79259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71" kern="0" dirty="0">
                  <a:solidFill>
                    <a:srgbClr val="D83B0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PGAs</a:t>
              </a:r>
            </a:p>
          </p:txBody>
        </p:sp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id="{06E3FCE5-C10B-43B5-8A77-3267A308E2CA}"/>
                </a:ext>
              </a:extLst>
            </p:cNvPr>
            <p:cNvGrpSpPr/>
            <p:nvPr/>
          </p:nvGrpSpPr>
          <p:grpSpPr>
            <a:xfrm>
              <a:off x="10191825" y="4423280"/>
              <a:ext cx="448056" cy="448056"/>
              <a:chOff x="5303955" y="5210715"/>
              <a:chExt cx="365962" cy="365962"/>
            </a:xfrm>
          </p:grpSpPr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70DA28B7-1800-46A6-A9B8-DD7C2C5457EF}"/>
                  </a:ext>
                </a:extLst>
              </p:cNvPr>
              <p:cNvSpPr/>
              <p:nvPr/>
            </p:nvSpPr>
            <p:spPr bwMode="auto">
              <a:xfrm>
                <a:off x="5303955" y="5210715"/>
                <a:ext cx="365962" cy="365962"/>
              </a:xfrm>
              <a:prstGeom prst="ellipse">
                <a:avLst/>
              </a:prstGeom>
              <a:solidFill>
                <a:schemeClr val="bg1"/>
              </a:solidFill>
              <a:ln w="15875" cap="flat" cmpd="sng" algn="ctr">
                <a:solidFill>
                  <a:schemeClr val="accent3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sp>
            <p:nvSpPr>
              <p:cNvPr id="275" name="Browser_4">
                <a:extLst>
                  <a:ext uri="{FF2B5EF4-FFF2-40B4-BE49-F238E27FC236}">
                    <a16:creationId xmlns:a16="http://schemas.microsoft.com/office/drawing/2014/main" id="{466C398A-917D-41F5-9889-45F984335F1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374611" y="5317724"/>
                <a:ext cx="206714" cy="152982"/>
              </a:xfrm>
              <a:custGeom>
                <a:avLst/>
                <a:gdLst>
                  <a:gd name="T0" fmla="*/ 80 w 604"/>
                  <a:gd name="T1" fmla="*/ 244 h 447"/>
                  <a:gd name="T2" fmla="*/ 320 w 604"/>
                  <a:gd name="T3" fmla="*/ 244 h 447"/>
                  <a:gd name="T4" fmla="*/ 80 w 604"/>
                  <a:gd name="T5" fmla="*/ 367 h 447"/>
                  <a:gd name="T6" fmla="*/ 320 w 604"/>
                  <a:gd name="T7" fmla="*/ 367 h 447"/>
                  <a:gd name="T8" fmla="*/ 525 w 604"/>
                  <a:gd name="T9" fmla="*/ 305 h 447"/>
                  <a:gd name="T10" fmla="*/ 525 w 604"/>
                  <a:gd name="T11" fmla="*/ 244 h 447"/>
                  <a:gd name="T12" fmla="*/ 403 w 604"/>
                  <a:gd name="T13" fmla="*/ 244 h 447"/>
                  <a:gd name="T14" fmla="*/ 403 w 604"/>
                  <a:gd name="T15" fmla="*/ 367 h 447"/>
                  <a:gd name="T16" fmla="*/ 525 w 604"/>
                  <a:gd name="T17" fmla="*/ 367 h 447"/>
                  <a:gd name="T18" fmla="*/ 525 w 604"/>
                  <a:gd name="T19" fmla="*/ 305 h 447"/>
                  <a:gd name="T20" fmla="*/ 525 w 604"/>
                  <a:gd name="T21" fmla="*/ 123 h 447"/>
                  <a:gd name="T22" fmla="*/ 525 w 604"/>
                  <a:gd name="T23" fmla="*/ 80 h 447"/>
                  <a:gd name="T24" fmla="*/ 82 w 604"/>
                  <a:gd name="T25" fmla="*/ 80 h 447"/>
                  <a:gd name="T26" fmla="*/ 82 w 604"/>
                  <a:gd name="T27" fmla="*/ 166 h 447"/>
                  <a:gd name="T28" fmla="*/ 525 w 604"/>
                  <a:gd name="T29" fmla="*/ 166 h 447"/>
                  <a:gd name="T30" fmla="*/ 525 w 604"/>
                  <a:gd name="T31" fmla="*/ 123 h 447"/>
                  <a:gd name="T32" fmla="*/ 604 w 604"/>
                  <a:gd name="T33" fmla="*/ 225 h 447"/>
                  <a:gd name="T34" fmla="*/ 604 w 604"/>
                  <a:gd name="T35" fmla="*/ 0 h 447"/>
                  <a:gd name="T36" fmla="*/ 0 w 604"/>
                  <a:gd name="T37" fmla="*/ 0 h 447"/>
                  <a:gd name="T38" fmla="*/ 0 w 604"/>
                  <a:gd name="T39" fmla="*/ 447 h 447"/>
                  <a:gd name="T40" fmla="*/ 604 w 604"/>
                  <a:gd name="T41" fmla="*/ 447 h 447"/>
                  <a:gd name="T42" fmla="*/ 604 w 604"/>
                  <a:gd name="T43" fmla="*/ 225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04" h="447">
                    <a:moveTo>
                      <a:pt x="80" y="244"/>
                    </a:moveTo>
                    <a:lnTo>
                      <a:pt x="320" y="244"/>
                    </a:lnTo>
                    <a:moveTo>
                      <a:pt x="80" y="367"/>
                    </a:moveTo>
                    <a:lnTo>
                      <a:pt x="320" y="367"/>
                    </a:lnTo>
                    <a:moveTo>
                      <a:pt x="525" y="305"/>
                    </a:moveTo>
                    <a:lnTo>
                      <a:pt x="525" y="244"/>
                    </a:lnTo>
                    <a:lnTo>
                      <a:pt x="403" y="244"/>
                    </a:lnTo>
                    <a:lnTo>
                      <a:pt x="403" y="367"/>
                    </a:lnTo>
                    <a:lnTo>
                      <a:pt x="525" y="367"/>
                    </a:lnTo>
                    <a:lnTo>
                      <a:pt x="525" y="305"/>
                    </a:lnTo>
                    <a:moveTo>
                      <a:pt x="525" y="123"/>
                    </a:moveTo>
                    <a:lnTo>
                      <a:pt x="525" y="80"/>
                    </a:lnTo>
                    <a:lnTo>
                      <a:pt x="82" y="80"/>
                    </a:lnTo>
                    <a:lnTo>
                      <a:pt x="82" y="166"/>
                    </a:lnTo>
                    <a:lnTo>
                      <a:pt x="525" y="166"/>
                    </a:lnTo>
                    <a:lnTo>
                      <a:pt x="525" y="123"/>
                    </a:lnTo>
                    <a:moveTo>
                      <a:pt x="604" y="225"/>
                    </a:moveTo>
                    <a:lnTo>
                      <a:pt x="604" y="0"/>
                    </a:lnTo>
                    <a:lnTo>
                      <a:pt x="0" y="0"/>
                    </a:lnTo>
                    <a:lnTo>
                      <a:pt x="0" y="447"/>
                    </a:lnTo>
                    <a:lnTo>
                      <a:pt x="604" y="447"/>
                    </a:lnTo>
                    <a:lnTo>
                      <a:pt x="604" y="225"/>
                    </a:lnTo>
                  </a:path>
                </a:pathLst>
              </a:custGeom>
              <a:noFill/>
              <a:ln w="15875" cap="sq">
                <a:solidFill>
                  <a:srgbClr val="2F2F2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sp>
        <p:nvSpPr>
          <p:cNvPr id="285" name="Rectangle 284">
            <a:extLst>
              <a:ext uri="{FF2B5EF4-FFF2-40B4-BE49-F238E27FC236}">
                <a16:creationId xmlns:a16="http://schemas.microsoft.com/office/drawing/2014/main" id="{1DE8574C-3672-4EBC-A512-B9277E4564E0}"/>
              </a:ext>
            </a:extLst>
          </p:cNvPr>
          <p:cNvSpPr/>
          <p:nvPr/>
        </p:nvSpPr>
        <p:spPr bwMode="auto">
          <a:xfrm>
            <a:off x="794465" y="3169486"/>
            <a:ext cx="666131" cy="330633"/>
          </a:xfrm>
          <a:prstGeom prst="rect">
            <a:avLst/>
          </a:prstGeom>
          <a:solidFill>
            <a:schemeClr val="bg1"/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1" kern="0" dirty="0">
                <a:solidFill>
                  <a:srgbClr val="D83B0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CPUs</a:t>
            </a:r>
          </a:p>
        </p:txBody>
      </p: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42849953-4FF0-4EA0-B1D4-F76A79A3C35F}"/>
              </a:ext>
            </a:extLst>
          </p:cNvPr>
          <p:cNvGrpSpPr/>
          <p:nvPr/>
        </p:nvGrpSpPr>
        <p:grpSpPr>
          <a:xfrm>
            <a:off x="358773" y="3152736"/>
            <a:ext cx="439185" cy="439185"/>
            <a:chOff x="282369" y="3629439"/>
            <a:chExt cx="365962" cy="365962"/>
          </a:xfrm>
          <a:solidFill>
            <a:srgbClr val="FFFFFF">
              <a:lumMod val="95000"/>
            </a:srgbClr>
          </a:solidFill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81F5EAE9-AB56-4C6C-A206-D874B6374FDA}"/>
                </a:ext>
              </a:extLst>
            </p:cNvPr>
            <p:cNvSpPr/>
            <p:nvPr/>
          </p:nvSpPr>
          <p:spPr bwMode="auto">
            <a:xfrm>
              <a:off x="282369" y="3629439"/>
              <a:ext cx="365962" cy="365962"/>
            </a:xfrm>
            <a:prstGeom prst="ellipse">
              <a:avLst/>
            </a:prstGeom>
            <a:solidFill>
              <a:schemeClr val="bg1"/>
            </a:solidFill>
            <a:ln w="15875" cap="flat" cmpd="sng" algn="ctr">
              <a:solidFill>
                <a:schemeClr val="accent3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288" name="chip">
              <a:extLst>
                <a:ext uri="{FF2B5EF4-FFF2-40B4-BE49-F238E27FC236}">
                  <a16:creationId xmlns:a16="http://schemas.microsoft.com/office/drawing/2014/main" id="{2D9E8A72-7E20-489D-B7DE-CFA6C4B449A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75762" y="3720981"/>
              <a:ext cx="179177" cy="182879"/>
            </a:xfrm>
            <a:custGeom>
              <a:avLst/>
              <a:gdLst>
                <a:gd name="T0" fmla="*/ 267 w 334"/>
                <a:gd name="T1" fmla="*/ 298 h 341"/>
                <a:gd name="T2" fmla="*/ 60 w 334"/>
                <a:gd name="T3" fmla="*/ 298 h 341"/>
                <a:gd name="T4" fmla="*/ 36 w 334"/>
                <a:gd name="T5" fmla="*/ 273 h 341"/>
                <a:gd name="T6" fmla="*/ 36 w 334"/>
                <a:gd name="T7" fmla="*/ 61 h 341"/>
                <a:gd name="T8" fmla="*/ 60 w 334"/>
                <a:gd name="T9" fmla="*/ 36 h 341"/>
                <a:gd name="T10" fmla="*/ 267 w 334"/>
                <a:gd name="T11" fmla="*/ 36 h 341"/>
                <a:gd name="T12" fmla="*/ 291 w 334"/>
                <a:gd name="T13" fmla="*/ 61 h 341"/>
                <a:gd name="T14" fmla="*/ 291 w 334"/>
                <a:gd name="T15" fmla="*/ 273 h 341"/>
                <a:gd name="T16" fmla="*/ 267 w 334"/>
                <a:gd name="T17" fmla="*/ 298 h 341"/>
                <a:gd name="T18" fmla="*/ 78 w 334"/>
                <a:gd name="T19" fmla="*/ 36 h 341"/>
                <a:gd name="T20" fmla="*/ 78 w 334"/>
                <a:gd name="T21" fmla="*/ 0 h 341"/>
                <a:gd name="T22" fmla="*/ 121 w 334"/>
                <a:gd name="T23" fmla="*/ 36 h 341"/>
                <a:gd name="T24" fmla="*/ 121 w 334"/>
                <a:gd name="T25" fmla="*/ 0 h 341"/>
                <a:gd name="T26" fmla="*/ 163 w 334"/>
                <a:gd name="T27" fmla="*/ 0 h 341"/>
                <a:gd name="T28" fmla="*/ 163 w 334"/>
                <a:gd name="T29" fmla="*/ 36 h 341"/>
                <a:gd name="T30" fmla="*/ 206 w 334"/>
                <a:gd name="T31" fmla="*/ 0 h 341"/>
                <a:gd name="T32" fmla="*/ 206 w 334"/>
                <a:gd name="T33" fmla="*/ 36 h 341"/>
                <a:gd name="T34" fmla="*/ 256 w 334"/>
                <a:gd name="T35" fmla="*/ 0 h 341"/>
                <a:gd name="T36" fmla="*/ 256 w 334"/>
                <a:gd name="T37" fmla="*/ 36 h 341"/>
                <a:gd name="T38" fmla="*/ 334 w 334"/>
                <a:gd name="T39" fmla="*/ 78 h 341"/>
                <a:gd name="T40" fmla="*/ 291 w 334"/>
                <a:gd name="T41" fmla="*/ 78 h 341"/>
                <a:gd name="T42" fmla="*/ 334 w 334"/>
                <a:gd name="T43" fmla="*/ 121 h 341"/>
                <a:gd name="T44" fmla="*/ 291 w 334"/>
                <a:gd name="T45" fmla="*/ 121 h 341"/>
                <a:gd name="T46" fmla="*/ 334 w 334"/>
                <a:gd name="T47" fmla="*/ 163 h 341"/>
                <a:gd name="T48" fmla="*/ 291 w 334"/>
                <a:gd name="T49" fmla="*/ 163 h 341"/>
                <a:gd name="T50" fmla="*/ 334 w 334"/>
                <a:gd name="T51" fmla="*/ 213 h 341"/>
                <a:gd name="T52" fmla="*/ 291 w 334"/>
                <a:gd name="T53" fmla="*/ 213 h 341"/>
                <a:gd name="T54" fmla="*/ 334 w 334"/>
                <a:gd name="T55" fmla="*/ 256 h 341"/>
                <a:gd name="T56" fmla="*/ 291 w 334"/>
                <a:gd name="T57" fmla="*/ 256 h 341"/>
                <a:gd name="T58" fmla="*/ 36 w 334"/>
                <a:gd name="T59" fmla="*/ 78 h 341"/>
                <a:gd name="T60" fmla="*/ 0 w 334"/>
                <a:gd name="T61" fmla="*/ 78 h 341"/>
                <a:gd name="T62" fmla="*/ 36 w 334"/>
                <a:gd name="T63" fmla="*/ 121 h 341"/>
                <a:gd name="T64" fmla="*/ 0 w 334"/>
                <a:gd name="T65" fmla="*/ 121 h 341"/>
                <a:gd name="T66" fmla="*/ 36 w 334"/>
                <a:gd name="T67" fmla="*/ 163 h 341"/>
                <a:gd name="T68" fmla="*/ 0 w 334"/>
                <a:gd name="T69" fmla="*/ 163 h 341"/>
                <a:gd name="T70" fmla="*/ 36 w 334"/>
                <a:gd name="T71" fmla="*/ 213 h 341"/>
                <a:gd name="T72" fmla="*/ 0 w 334"/>
                <a:gd name="T73" fmla="*/ 213 h 341"/>
                <a:gd name="T74" fmla="*/ 36 w 334"/>
                <a:gd name="T75" fmla="*/ 256 h 341"/>
                <a:gd name="T76" fmla="*/ 0 w 334"/>
                <a:gd name="T77" fmla="*/ 256 h 341"/>
                <a:gd name="T78" fmla="*/ 78 w 334"/>
                <a:gd name="T79" fmla="*/ 298 h 341"/>
                <a:gd name="T80" fmla="*/ 78 w 334"/>
                <a:gd name="T81" fmla="*/ 341 h 341"/>
                <a:gd name="T82" fmla="*/ 121 w 334"/>
                <a:gd name="T83" fmla="*/ 298 h 341"/>
                <a:gd name="T84" fmla="*/ 121 w 334"/>
                <a:gd name="T85" fmla="*/ 341 h 341"/>
                <a:gd name="T86" fmla="*/ 163 w 334"/>
                <a:gd name="T87" fmla="*/ 341 h 341"/>
                <a:gd name="T88" fmla="*/ 163 w 334"/>
                <a:gd name="T89" fmla="*/ 298 h 341"/>
                <a:gd name="T90" fmla="*/ 206 w 334"/>
                <a:gd name="T91" fmla="*/ 298 h 341"/>
                <a:gd name="T92" fmla="*/ 206 w 334"/>
                <a:gd name="T93" fmla="*/ 341 h 341"/>
                <a:gd name="T94" fmla="*/ 256 w 334"/>
                <a:gd name="T95" fmla="*/ 298 h 341"/>
                <a:gd name="T96" fmla="*/ 256 w 334"/>
                <a:gd name="T9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4" h="341">
                  <a:moveTo>
                    <a:pt x="267" y="298"/>
                  </a:moveTo>
                  <a:cubicBezTo>
                    <a:pt x="60" y="298"/>
                    <a:pt x="60" y="298"/>
                    <a:pt x="60" y="298"/>
                  </a:cubicBezTo>
                  <a:cubicBezTo>
                    <a:pt x="48" y="298"/>
                    <a:pt x="36" y="286"/>
                    <a:pt x="36" y="273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45"/>
                    <a:pt x="48" y="36"/>
                    <a:pt x="60" y="36"/>
                  </a:cubicBezTo>
                  <a:cubicBezTo>
                    <a:pt x="267" y="36"/>
                    <a:pt x="267" y="36"/>
                    <a:pt x="267" y="36"/>
                  </a:cubicBezTo>
                  <a:cubicBezTo>
                    <a:pt x="282" y="36"/>
                    <a:pt x="291" y="45"/>
                    <a:pt x="291" y="61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1" y="286"/>
                    <a:pt x="282" y="298"/>
                    <a:pt x="267" y="298"/>
                  </a:cubicBezTo>
                  <a:close/>
                  <a:moveTo>
                    <a:pt x="78" y="36"/>
                  </a:moveTo>
                  <a:cubicBezTo>
                    <a:pt x="78" y="0"/>
                    <a:pt x="78" y="0"/>
                    <a:pt x="78" y="0"/>
                  </a:cubicBezTo>
                  <a:moveTo>
                    <a:pt x="121" y="36"/>
                  </a:moveTo>
                  <a:cubicBezTo>
                    <a:pt x="121" y="0"/>
                    <a:pt x="121" y="0"/>
                    <a:pt x="121" y="0"/>
                  </a:cubicBezTo>
                  <a:moveTo>
                    <a:pt x="163" y="0"/>
                  </a:moveTo>
                  <a:cubicBezTo>
                    <a:pt x="163" y="36"/>
                    <a:pt x="163" y="36"/>
                    <a:pt x="163" y="36"/>
                  </a:cubicBezTo>
                  <a:moveTo>
                    <a:pt x="206" y="0"/>
                  </a:moveTo>
                  <a:cubicBezTo>
                    <a:pt x="206" y="36"/>
                    <a:pt x="206" y="36"/>
                    <a:pt x="206" y="36"/>
                  </a:cubicBezTo>
                  <a:moveTo>
                    <a:pt x="256" y="0"/>
                  </a:moveTo>
                  <a:cubicBezTo>
                    <a:pt x="256" y="36"/>
                    <a:pt x="256" y="36"/>
                    <a:pt x="256" y="36"/>
                  </a:cubicBezTo>
                  <a:moveTo>
                    <a:pt x="334" y="78"/>
                  </a:moveTo>
                  <a:cubicBezTo>
                    <a:pt x="291" y="78"/>
                    <a:pt x="291" y="78"/>
                    <a:pt x="291" y="78"/>
                  </a:cubicBezTo>
                  <a:moveTo>
                    <a:pt x="334" y="121"/>
                  </a:moveTo>
                  <a:cubicBezTo>
                    <a:pt x="291" y="121"/>
                    <a:pt x="291" y="121"/>
                    <a:pt x="291" y="121"/>
                  </a:cubicBezTo>
                  <a:moveTo>
                    <a:pt x="334" y="163"/>
                  </a:moveTo>
                  <a:cubicBezTo>
                    <a:pt x="291" y="163"/>
                    <a:pt x="291" y="163"/>
                    <a:pt x="291" y="163"/>
                  </a:cubicBezTo>
                  <a:moveTo>
                    <a:pt x="334" y="213"/>
                  </a:moveTo>
                  <a:cubicBezTo>
                    <a:pt x="291" y="213"/>
                    <a:pt x="291" y="213"/>
                    <a:pt x="291" y="213"/>
                  </a:cubicBezTo>
                  <a:moveTo>
                    <a:pt x="334" y="256"/>
                  </a:moveTo>
                  <a:cubicBezTo>
                    <a:pt x="291" y="256"/>
                    <a:pt x="291" y="256"/>
                    <a:pt x="291" y="256"/>
                  </a:cubicBezTo>
                  <a:moveTo>
                    <a:pt x="36" y="78"/>
                  </a:moveTo>
                  <a:cubicBezTo>
                    <a:pt x="0" y="78"/>
                    <a:pt x="0" y="78"/>
                    <a:pt x="0" y="78"/>
                  </a:cubicBezTo>
                  <a:moveTo>
                    <a:pt x="36" y="121"/>
                  </a:moveTo>
                  <a:cubicBezTo>
                    <a:pt x="0" y="121"/>
                    <a:pt x="0" y="121"/>
                    <a:pt x="0" y="121"/>
                  </a:cubicBezTo>
                  <a:moveTo>
                    <a:pt x="36" y="163"/>
                  </a:moveTo>
                  <a:cubicBezTo>
                    <a:pt x="0" y="163"/>
                    <a:pt x="0" y="163"/>
                    <a:pt x="0" y="163"/>
                  </a:cubicBezTo>
                  <a:moveTo>
                    <a:pt x="36" y="213"/>
                  </a:moveTo>
                  <a:cubicBezTo>
                    <a:pt x="0" y="213"/>
                    <a:pt x="0" y="213"/>
                    <a:pt x="0" y="213"/>
                  </a:cubicBezTo>
                  <a:moveTo>
                    <a:pt x="36" y="256"/>
                  </a:moveTo>
                  <a:cubicBezTo>
                    <a:pt x="0" y="256"/>
                    <a:pt x="0" y="256"/>
                    <a:pt x="0" y="256"/>
                  </a:cubicBezTo>
                  <a:moveTo>
                    <a:pt x="78" y="298"/>
                  </a:moveTo>
                  <a:cubicBezTo>
                    <a:pt x="78" y="341"/>
                    <a:pt x="78" y="341"/>
                    <a:pt x="78" y="341"/>
                  </a:cubicBezTo>
                  <a:moveTo>
                    <a:pt x="121" y="298"/>
                  </a:moveTo>
                  <a:cubicBezTo>
                    <a:pt x="121" y="341"/>
                    <a:pt x="121" y="341"/>
                    <a:pt x="121" y="341"/>
                  </a:cubicBezTo>
                  <a:moveTo>
                    <a:pt x="163" y="341"/>
                  </a:moveTo>
                  <a:cubicBezTo>
                    <a:pt x="163" y="298"/>
                    <a:pt x="163" y="298"/>
                    <a:pt x="163" y="298"/>
                  </a:cubicBezTo>
                  <a:moveTo>
                    <a:pt x="206" y="298"/>
                  </a:moveTo>
                  <a:cubicBezTo>
                    <a:pt x="206" y="341"/>
                    <a:pt x="206" y="341"/>
                    <a:pt x="206" y="341"/>
                  </a:cubicBezTo>
                  <a:moveTo>
                    <a:pt x="256" y="298"/>
                  </a:moveTo>
                  <a:cubicBezTo>
                    <a:pt x="256" y="341"/>
                    <a:pt x="256" y="341"/>
                    <a:pt x="256" y="341"/>
                  </a:cubicBezTo>
                </a:path>
              </a:pathLst>
            </a:custGeom>
            <a:noFill/>
            <a:ln w="15875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:a16="http://schemas.microsoft.com/office/drawing/2014/main" id="{D18FDC88-05A0-41D4-AE96-CBA14666E2DF}"/>
              </a:ext>
            </a:extLst>
          </p:cNvPr>
          <p:cNvGrpSpPr/>
          <p:nvPr/>
        </p:nvGrpSpPr>
        <p:grpSpPr>
          <a:xfrm>
            <a:off x="4914947" y="3665508"/>
            <a:ext cx="666131" cy="510520"/>
            <a:chOff x="6142928" y="4501551"/>
            <a:chExt cx="931982" cy="714265"/>
          </a:xfrm>
        </p:grpSpPr>
        <p:sp>
          <p:nvSpPr>
            <p:cNvPr id="290" name="monitor">
              <a:extLst>
                <a:ext uri="{FF2B5EF4-FFF2-40B4-BE49-F238E27FC236}">
                  <a16:creationId xmlns:a16="http://schemas.microsoft.com/office/drawing/2014/main" id="{3178255C-E530-4BC7-AF67-D178B7F53AD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42928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A4FF1087-609E-47E5-AD4F-B5CC89D6F700}"/>
                </a:ext>
              </a:extLst>
            </p:cNvPr>
            <p:cNvSpPr txBox="1"/>
            <p:nvPr/>
          </p:nvSpPr>
          <p:spPr>
            <a:xfrm>
              <a:off x="6433984" y="4645916"/>
              <a:ext cx="349871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C</a:t>
              </a:r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698FCC22-82F0-4EA8-AE59-08377364679F}"/>
              </a:ext>
            </a:extLst>
          </p:cNvPr>
          <p:cNvGrpSpPr/>
          <p:nvPr/>
        </p:nvGrpSpPr>
        <p:grpSpPr>
          <a:xfrm>
            <a:off x="6918530" y="3669579"/>
            <a:ext cx="666131" cy="510520"/>
            <a:chOff x="7745277" y="4501551"/>
            <a:chExt cx="931982" cy="714265"/>
          </a:xfrm>
        </p:grpSpPr>
        <p:sp>
          <p:nvSpPr>
            <p:cNvPr id="293" name="monitor">
              <a:extLst>
                <a:ext uri="{FF2B5EF4-FFF2-40B4-BE49-F238E27FC236}">
                  <a16:creationId xmlns:a16="http://schemas.microsoft.com/office/drawing/2014/main" id="{2AE36D1C-52B1-498C-9AF0-9C620EEAA76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E6A44CC9-42FC-4387-9354-5BBE64D2C951}"/>
                </a:ext>
              </a:extLst>
            </p:cNvPr>
            <p:cNvSpPr txBox="1"/>
            <p:nvPr/>
          </p:nvSpPr>
          <p:spPr>
            <a:xfrm>
              <a:off x="8034088" y="4645916"/>
              <a:ext cx="354356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V</a:t>
              </a:r>
            </a:p>
          </p:txBody>
        </p: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27B97003-5C75-4E94-A202-F9892EA3EA59}"/>
              </a:ext>
            </a:extLst>
          </p:cNvPr>
          <p:cNvGrpSpPr/>
          <p:nvPr/>
        </p:nvGrpSpPr>
        <p:grpSpPr>
          <a:xfrm>
            <a:off x="7832641" y="3665508"/>
            <a:ext cx="666131" cy="510520"/>
            <a:chOff x="7745277" y="4501551"/>
            <a:chExt cx="931982" cy="714265"/>
          </a:xfrm>
        </p:grpSpPr>
        <p:sp>
          <p:nvSpPr>
            <p:cNvPr id="296" name="monitor">
              <a:extLst>
                <a:ext uri="{FF2B5EF4-FFF2-40B4-BE49-F238E27FC236}">
                  <a16:creationId xmlns:a16="http://schemas.microsoft.com/office/drawing/2014/main" id="{4050DB84-AE17-4C5C-ABA9-6A5E674F972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99B2F6FD-B76D-424D-A41F-AE8A355207A4}"/>
                </a:ext>
              </a:extLst>
            </p:cNvPr>
            <p:cNvSpPr txBox="1"/>
            <p:nvPr/>
          </p:nvSpPr>
          <p:spPr>
            <a:xfrm>
              <a:off x="8025122" y="4645916"/>
              <a:ext cx="372298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D</a:t>
              </a:r>
            </a:p>
          </p:txBody>
        </p:sp>
      </p:grp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800A8B5D-D571-4C74-99D0-F000931280A5}"/>
              </a:ext>
            </a:extLst>
          </p:cNvPr>
          <p:cNvGrpSpPr/>
          <p:nvPr/>
        </p:nvGrpSpPr>
        <p:grpSpPr>
          <a:xfrm>
            <a:off x="5907474" y="3665508"/>
            <a:ext cx="666131" cy="510520"/>
            <a:chOff x="7745277" y="4501551"/>
            <a:chExt cx="931982" cy="714265"/>
          </a:xfrm>
        </p:grpSpPr>
        <p:sp>
          <p:nvSpPr>
            <p:cNvPr id="299" name="monitor">
              <a:extLst>
                <a:ext uri="{FF2B5EF4-FFF2-40B4-BE49-F238E27FC236}">
                  <a16:creationId xmlns:a16="http://schemas.microsoft.com/office/drawing/2014/main" id="{ADD51037-16D3-4D8C-AABA-A31C53DE755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86205FE7-6C9D-4202-8369-C4BD23B9F9B9}"/>
                </a:ext>
              </a:extLst>
            </p:cNvPr>
            <p:cNvSpPr txBox="1"/>
            <p:nvPr/>
          </p:nvSpPr>
          <p:spPr>
            <a:xfrm>
              <a:off x="7902891" y="4645916"/>
              <a:ext cx="616758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Cv2</a:t>
              </a:r>
            </a:p>
          </p:txBody>
        </p:sp>
      </p:grpSp>
      <p:sp>
        <p:nvSpPr>
          <p:cNvPr id="301" name="Rectangle 300">
            <a:extLst>
              <a:ext uri="{FF2B5EF4-FFF2-40B4-BE49-F238E27FC236}">
                <a16:creationId xmlns:a16="http://schemas.microsoft.com/office/drawing/2014/main" id="{E89B54B3-87D4-45DC-B306-CF2FC919D86D}"/>
              </a:ext>
            </a:extLst>
          </p:cNvPr>
          <p:cNvSpPr/>
          <p:nvPr/>
        </p:nvSpPr>
        <p:spPr bwMode="auto">
          <a:xfrm>
            <a:off x="4794140" y="3316282"/>
            <a:ext cx="3955599" cy="1720094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F7D10496-BBFD-4E49-9D06-AF5E4C0C70AA}"/>
              </a:ext>
            </a:extLst>
          </p:cNvPr>
          <p:cNvSpPr/>
          <p:nvPr/>
        </p:nvSpPr>
        <p:spPr bwMode="auto">
          <a:xfrm>
            <a:off x="5009321" y="3171581"/>
            <a:ext cx="792676" cy="330633"/>
          </a:xfrm>
          <a:prstGeom prst="rect">
            <a:avLst/>
          </a:prstGeom>
          <a:solidFill>
            <a:schemeClr val="bg1"/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1" kern="0" dirty="0">
                <a:solidFill>
                  <a:srgbClr val="D83B0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GPUs</a:t>
            </a:r>
          </a:p>
        </p:txBody>
      </p: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9B3A7111-0F95-4785-AC08-57D5E4AA36E9}"/>
              </a:ext>
            </a:extLst>
          </p:cNvPr>
          <p:cNvGrpSpPr/>
          <p:nvPr/>
        </p:nvGrpSpPr>
        <p:grpSpPr>
          <a:xfrm>
            <a:off x="4570975" y="3148147"/>
            <a:ext cx="439185" cy="439185"/>
            <a:chOff x="6171198" y="3604950"/>
            <a:chExt cx="365962" cy="365962"/>
          </a:xfrm>
        </p:grpSpPr>
        <p:sp>
          <p:nvSpPr>
            <p:cNvPr id="304" name="Oval 303">
              <a:extLst>
                <a:ext uri="{FF2B5EF4-FFF2-40B4-BE49-F238E27FC236}">
                  <a16:creationId xmlns:a16="http://schemas.microsoft.com/office/drawing/2014/main" id="{E7A7AB44-D4B9-4BCC-9174-81024892DBDD}"/>
                </a:ext>
              </a:extLst>
            </p:cNvPr>
            <p:cNvSpPr/>
            <p:nvPr/>
          </p:nvSpPr>
          <p:spPr bwMode="auto">
            <a:xfrm>
              <a:off x="6171198" y="3604950"/>
              <a:ext cx="365962" cy="365962"/>
            </a:xfrm>
            <a:prstGeom prst="ellipse">
              <a:avLst/>
            </a:prstGeom>
            <a:solidFill>
              <a:schemeClr val="bg1"/>
            </a:solidFill>
            <a:ln w="15875" cap="flat" cmpd="sng" algn="ctr">
              <a:solidFill>
                <a:schemeClr val="accent3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5" name="PhotoCollection_E7AA">
              <a:extLst>
                <a:ext uri="{FF2B5EF4-FFF2-40B4-BE49-F238E27FC236}">
                  <a16:creationId xmlns:a16="http://schemas.microsoft.com/office/drawing/2014/main" id="{7B610DE4-1F3A-47FF-A79E-7DE276CF4AF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48767" y="3707389"/>
              <a:ext cx="210824" cy="161085"/>
            </a:xfrm>
            <a:custGeom>
              <a:avLst/>
              <a:gdLst>
                <a:gd name="T0" fmla="*/ 3326 w 3752"/>
                <a:gd name="T1" fmla="*/ 2439 h 2865"/>
                <a:gd name="T2" fmla="*/ 0 w 3752"/>
                <a:gd name="T3" fmla="*/ 2439 h 2865"/>
                <a:gd name="T4" fmla="*/ 0 w 3752"/>
                <a:gd name="T5" fmla="*/ 0 h 2865"/>
                <a:gd name="T6" fmla="*/ 3326 w 3752"/>
                <a:gd name="T7" fmla="*/ 0 h 2865"/>
                <a:gd name="T8" fmla="*/ 3326 w 3752"/>
                <a:gd name="T9" fmla="*/ 2439 h 2865"/>
                <a:gd name="T10" fmla="*/ 2616 w 3752"/>
                <a:gd name="T11" fmla="*/ 665 h 2865"/>
                <a:gd name="T12" fmla="*/ 2660 w 3752"/>
                <a:gd name="T13" fmla="*/ 710 h 2865"/>
                <a:gd name="T14" fmla="*/ 2705 w 3752"/>
                <a:gd name="T15" fmla="*/ 665 h 2865"/>
                <a:gd name="T16" fmla="*/ 2660 w 3752"/>
                <a:gd name="T17" fmla="*/ 620 h 2865"/>
                <a:gd name="T18" fmla="*/ 2616 w 3752"/>
                <a:gd name="T19" fmla="*/ 665 h 2865"/>
                <a:gd name="T20" fmla="*/ 2660 w 3752"/>
                <a:gd name="T21" fmla="*/ 2439 h 2865"/>
                <a:gd name="T22" fmla="*/ 887 w 3752"/>
                <a:gd name="T23" fmla="*/ 665 h 2865"/>
                <a:gd name="T24" fmla="*/ 0 w 3752"/>
                <a:gd name="T25" fmla="*/ 1552 h 2865"/>
                <a:gd name="T26" fmla="*/ 3326 w 3752"/>
                <a:gd name="T27" fmla="*/ 2217 h 2865"/>
                <a:gd name="T28" fmla="*/ 2439 w 3752"/>
                <a:gd name="T29" fmla="*/ 1330 h 2865"/>
                <a:gd name="T30" fmla="*/ 1995 w 3752"/>
                <a:gd name="T31" fmla="*/ 1774 h 2865"/>
                <a:gd name="T32" fmla="*/ 426 w 3752"/>
                <a:gd name="T33" fmla="*/ 2439 h 2865"/>
                <a:gd name="T34" fmla="*/ 426 w 3752"/>
                <a:gd name="T35" fmla="*/ 2865 h 2865"/>
                <a:gd name="T36" fmla="*/ 3752 w 3752"/>
                <a:gd name="T37" fmla="*/ 2865 h 2865"/>
                <a:gd name="T38" fmla="*/ 3752 w 3752"/>
                <a:gd name="T39" fmla="*/ 426 h 2865"/>
                <a:gd name="T40" fmla="*/ 3326 w 3752"/>
                <a:gd name="T41" fmla="*/ 426 h 2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52" h="2865">
                  <a:moveTo>
                    <a:pt x="3326" y="2439"/>
                  </a:moveTo>
                  <a:cubicBezTo>
                    <a:pt x="0" y="2439"/>
                    <a:pt x="0" y="2439"/>
                    <a:pt x="0" y="24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326" y="0"/>
                    <a:pt x="3326" y="0"/>
                    <a:pt x="3326" y="0"/>
                  </a:cubicBezTo>
                  <a:lnTo>
                    <a:pt x="3326" y="2439"/>
                  </a:lnTo>
                  <a:close/>
                  <a:moveTo>
                    <a:pt x="2616" y="665"/>
                  </a:moveTo>
                  <a:cubicBezTo>
                    <a:pt x="2616" y="690"/>
                    <a:pt x="2636" y="710"/>
                    <a:pt x="2660" y="710"/>
                  </a:cubicBezTo>
                  <a:cubicBezTo>
                    <a:pt x="2685" y="710"/>
                    <a:pt x="2705" y="690"/>
                    <a:pt x="2705" y="665"/>
                  </a:cubicBezTo>
                  <a:cubicBezTo>
                    <a:pt x="2705" y="640"/>
                    <a:pt x="2685" y="620"/>
                    <a:pt x="2660" y="620"/>
                  </a:cubicBezTo>
                  <a:cubicBezTo>
                    <a:pt x="2636" y="620"/>
                    <a:pt x="2616" y="640"/>
                    <a:pt x="2616" y="665"/>
                  </a:cubicBezTo>
                  <a:close/>
                  <a:moveTo>
                    <a:pt x="2660" y="2439"/>
                  </a:moveTo>
                  <a:cubicBezTo>
                    <a:pt x="887" y="665"/>
                    <a:pt x="887" y="665"/>
                    <a:pt x="887" y="665"/>
                  </a:cubicBezTo>
                  <a:cubicBezTo>
                    <a:pt x="0" y="1552"/>
                    <a:pt x="0" y="1552"/>
                    <a:pt x="0" y="1552"/>
                  </a:cubicBezTo>
                  <a:moveTo>
                    <a:pt x="3326" y="2217"/>
                  </a:moveTo>
                  <a:cubicBezTo>
                    <a:pt x="2439" y="1330"/>
                    <a:pt x="2439" y="1330"/>
                    <a:pt x="2439" y="1330"/>
                  </a:cubicBezTo>
                  <a:cubicBezTo>
                    <a:pt x="1995" y="1774"/>
                    <a:pt x="1995" y="1774"/>
                    <a:pt x="1995" y="1774"/>
                  </a:cubicBezTo>
                  <a:moveTo>
                    <a:pt x="426" y="2439"/>
                  </a:moveTo>
                  <a:cubicBezTo>
                    <a:pt x="426" y="2865"/>
                    <a:pt x="426" y="2865"/>
                    <a:pt x="426" y="2865"/>
                  </a:cubicBezTo>
                  <a:cubicBezTo>
                    <a:pt x="3752" y="2865"/>
                    <a:pt x="3752" y="2865"/>
                    <a:pt x="3752" y="2865"/>
                  </a:cubicBezTo>
                  <a:cubicBezTo>
                    <a:pt x="3752" y="426"/>
                    <a:pt x="3752" y="426"/>
                    <a:pt x="3752" y="426"/>
                  </a:cubicBezTo>
                  <a:cubicBezTo>
                    <a:pt x="3326" y="426"/>
                    <a:pt x="3326" y="426"/>
                    <a:pt x="3326" y="426"/>
                  </a:cubicBezTo>
                </a:path>
              </a:pathLst>
            </a:custGeom>
            <a:noFill/>
            <a:ln w="15875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kern="0" dirty="0"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01C0B900-E388-4825-BBB6-7CF7CDCD87DE}"/>
              </a:ext>
            </a:extLst>
          </p:cNvPr>
          <p:cNvGrpSpPr/>
          <p:nvPr/>
        </p:nvGrpSpPr>
        <p:grpSpPr>
          <a:xfrm>
            <a:off x="5907474" y="4310568"/>
            <a:ext cx="666131" cy="510520"/>
            <a:chOff x="7745277" y="4501551"/>
            <a:chExt cx="931982" cy="714265"/>
          </a:xfrm>
        </p:grpSpPr>
        <p:sp>
          <p:nvSpPr>
            <p:cNvPr id="315" name="monitor">
              <a:extLst>
                <a:ext uri="{FF2B5EF4-FFF2-40B4-BE49-F238E27FC236}">
                  <a16:creationId xmlns:a16="http://schemas.microsoft.com/office/drawing/2014/main" id="{CAB78034-37A4-40C8-A226-A434266DF97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12994AA1-75C8-4894-BF93-99723BDF7BD8}"/>
                </a:ext>
              </a:extLst>
            </p:cNvPr>
            <p:cNvSpPr txBox="1"/>
            <p:nvPr/>
          </p:nvSpPr>
          <p:spPr>
            <a:xfrm>
              <a:off x="7902891" y="4645916"/>
              <a:ext cx="616758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Cv3</a:t>
              </a:r>
            </a:p>
          </p:txBody>
        </p:sp>
      </p:grpSp>
      <p:sp>
        <p:nvSpPr>
          <p:cNvPr id="320" name="TextBox 319">
            <a:extLst>
              <a:ext uri="{FF2B5EF4-FFF2-40B4-BE49-F238E27FC236}">
                <a16:creationId xmlns:a16="http://schemas.microsoft.com/office/drawing/2014/main" id="{6122410E-E975-41FD-B93A-9D8EE4354442}"/>
              </a:ext>
            </a:extLst>
          </p:cNvPr>
          <p:cNvSpPr txBox="1"/>
          <p:nvPr/>
        </p:nvSpPr>
        <p:spPr>
          <a:xfrm>
            <a:off x="7744116" y="4817010"/>
            <a:ext cx="84318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14192">
              <a:spcAft>
                <a:spcPts val="588"/>
              </a:spcAft>
              <a:defRPr/>
            </a:pPr>
            <a:r>
              <a:rPr lang="en-US" sz="1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(coming soon)</a:t>
            </a:r>
          </a:p>
        </p:txBody>
      </p: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46D89BD5-2EF1-4DA0-B2F3-1E8BA986E0CD}"/>
              </a:ext>
            </a:extLst>
          </p:cNvPr>
          <p:cNvGrpSpPr/>
          <p:nvPr/>
        </p:nvGrpSpPr>
        <p:grpSpPr>
          <a:xfrm>
            <a:off x="6918530" y="4288499"/>
            <a:ext cx="666131" cy="510520"/>
            <a:chOff x="7745277" y="4501551"/>
            <a:chExt cx="931982" cy="714265"/>
          </a:xfrm>
        </p:grpSpPr>
        <p:sp>
          <p:nvSpPr>
            <p:cNvPr id="322" name="monitor">
              <a:extLst>
                <a:ext uri="{FF2B5EF4-FFF2-40B4-BE49-F238E27FC236}">
                  <a16:creationId xmlns:a16="http://schemas.microsoft.com/office/drawing/2014/main" id="{B55CB9EE-D631-4EE0-A617-7FB590B3C49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71C6E00D-2C40-4575-9601-E70BB22FBCC6}"/>
                </a:ext>
              </a:extLst>
            </p:cNvPr>
            <p:cNvSpPr txBox="1"/>
            <p:nvPr/>
          </p:nvSpPr>
          <p:spPr>
            <a:xfrm>
              <a:off x="7900645" y="4645916"/>
              <a:ext cx="621244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Vv2</a:t>
              </a:r>
            </a:p>
          </p:txBody>
        </p:sp>
      </p:grpSp>
      <p:sp>
        <p:nvSpPr>
          <p:cNvPr id="324" name="TextBox 323">
            <a:extLst>
              <a:ext uri="{FF2B5EF4-FFF2-40B4-BE49-F238E27FC236}">
                <a16:creationId xmlns:a16="http://schemas.microsoft.com/office/drawing/2014/main" id="{8C72AFED-2403-47A6-8C14-E7F0751508EC}"/>
              </a:ext>
            </a:extLst>
          </p:cNvPr>
          <p:cNvSpPr txBox="1"/>
          <p:nvPr/>
        </p:nvSpPr>
        <p:spPr>
          <a:xfrm>
            <a:off x="6830005" y="4817010"/>
            <a:ext cx="84318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14192">
              <a:spcAft>
                <a:spcPts val="588"/>
              </a:spcAft>
              <a:defRPr/>
            </a:pPr>
            <a:r>
              <a:rPr lang="en-US" sz="1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(coming soon)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5FB83636-763D-474A-A0DF-9BC74BBE4A47}"/>
              </a:ext>
            </a:extLst>
          </p:cNvPr>
          <p:cNvSpPr/>
          <p:nvPr/>
        </p:nvSpPr>
        <p:spPr bwMode="auto">
          <a:xfrm>
            <a:off x="11604479" y="122074"/>
            <a:ext cx="502893" cy="881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C33F6BD-B626-4146-B07C-BD8056E2E415}"/>
              </a:ext>
            </a:extLst>
          </p:cNvPr>
          <p:cNvSpPr/>
          <p:nvPr/>
        </p:nvSpPr>
        <p:spPr bwMode="auto">
          <a:xfrm>
            <a:off x="11604479" y="239567"/>
            <a:ext cx="502893" cy="88167"/>
          </a:xfrm>
          <a:prstGeom prst="rect">
            <a:avLst/>
          </a:prstGeom>
          <a:solidFill>
            <a:srgbClr val="7F7F7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0CE67E9-8C55-4460-B7E9-CF2B8EDF8861}"/>
              </a:ext>
            </a:extLst>
          </p:cNvPr>
          <p:cNvSpPr/>
          <p:nvPr/>
        </p:nvSpPr>
        <p:spPr bwMode="auto">
          <a:xfrm>
            <a:off x="11604479" y="357060"/>
            <a:ext cx="502893" cy="88167"/>
          </a:xfrm>
          <a:prstGeom prst="rect">
            <a:avLst/>
          </a:prstGeom>
          <a:solidFill>
            <a:srgbClr val="7F7F7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35AF297-4416-42A3-B7A0-DF678E159EEB}"/>
              </a:ext>
            </a:extLst>
          </p:cNvPr>
          <p:cNvSpPr/>
          <p:nvPr/>
        </p:nvSpPr>
        <p:spPr bwMode="auto">
          <a:xfrm>
            <a:off x="11604479" y="474552"/>
            <a:ext cx="502893" cy="88167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07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7" grpId="0" animBg="1"/>
      <p:bldP spid="28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2031C2A-371C-48AA-A972-49E3C5CDC5DB}"/>
              </a:ext>
            </a:extLst>
          </p:cNvPr>
          <p:cNvSpPr/>
          <p:nvPr/>
        </p:nvSpPr>
        <p:spPr bwMode="auto">
          <a:xfrm>
            <a:off x="3349018" y="2703787"/>
            <a:ext cx="5452171" cy="2819701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858F36F-537E-4C15-A8C6-1D8EC29C25E3}"/>
              </a:ext>
            </a:extLst>
          </p:cNvPr>
          <p:cNvCxnSpPr>
            <a:cxnSpLocks/>
          </p:cNvCxnSpPr>
          <p:nvPr/>
        </p:nvCxnSpPr>
        <p:spPr>
          <a:xfrm flipH="1">
            <a:off x="3537154" y="2703787"/>
            <a:ext cx="479907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9296B1F-7C5B-49FA-B28C-68CF178EAEC3}"/>
              </a:ext>
            </a:extLst>
          </p:cNvPr>
          <p:cNvCxnSpPr/>
          <p:nvPr/>
        </p:nvCxnSpPr>
        <p:spPr>
          <a:xfrm>
            <a:off x="3349018" y="2632596"/>
            <a:ext cx="0" cy="357432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3D7AAE9F-5002-4356-8F3D-9AC68FD0E84E}"/>
              </a:ext>
            </a:extLst>
          </p:cNvPr>
          <p:cNvCxnSpPr/>
          <p:nvPr/>
        </p:nvCxnSpPr>
        <p:spPr>
          <a:xfrm>
            <a:off x="8813187" y="2632596"/>
            <a:ext cx="0" cy="357432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AF9FA63-1659-409A-B8A5-05752C42D3C0}"/>
              </a:ext>
            </a:extLst>
          </p:cNvPr>
          <p:cNvCxnSpPr>
            <a:cxnSpLocks/>
          </p:cNvCxnSpPr>
          <p:nvPr/>
        </p:nvCxnSpPr>
        <p:spPr>
          <a:xfrm flipH="1">
            <a:off x="3227276" y="5523488"/>
            <a:ext cx="313448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3345DFD0-7683-4F51-B75D-173E208B321C}"/>
              </a:ext>
            </a:extLst>
          </p:cNvPr>
          <p:cNvCxnSpPr>
            <a:cxnSpLocks/>
          </p:cNvCxnSpPr>
          <p:nvPr/>
        </p:nvCxnSpPr>
        <p:spPr>
          <a:xfrm flipH="1">
            <a:off x="3227276" y="5523488"/>
            <a:ext cx="313448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1F746167-E7F9-444B-9EBE-5286EC447F26}"/>
              </a:ext>
            </a:extLst>
          </p:cNvPr>
          <p:cNvCxnSpPr>
            <a:cxnSpLocks/>
          </p:cNvCxnSpPr>
          <p:nvPr/>
        </p:nvCxnSpPr>
        <p:spPr>
          <a:xfrm flipH="1">
            <a:off x="3227276" y="5523488"/>
            <a:ext cx="313448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AC9D1471-10A3-4E69-8E65-577E85D7EEE8}"/>
              </a:ext>
            </a:extLst>
          </p:cNvPr>
          <p:cNvCxnSpPr>
            <a:cxnSpLocks/>
          </p:cNvCxnSpPr>
          <p:nvPr/>
        </p:nvCxnSpPr>
        <p:spPr>
          <a:xfrm flipH="1">
            <a:off x="8661911" y="5523488"/>
            <a:ext cx="313448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338D44BA-03F7-42D8-A064-225225E49E8D}"/>
              </a:ext>
            </a:extLst>
          </p:cNvPr>
          <p:cNvCxnSpPr>
            <a:cxnSpLocks/>
          </p:cNvCxnSpPr>
          <p:nvPr/>
        </p:nvCxnSpPr>
        <p:spPr>
          <a:xfrm flipH="1">
            <a:off x="8661911" y="5523488"/>
            <a:ext cx="313448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77" name="Rectangle 176">
            <a:extLst>
              <a:ext uri="{FF2B5EF4-FFF2-40B4-BE49-F238E27FC236}">
                <a16:creationId xmlns:a16="http://schemas.microsoft.com/office/drawing/2014/main" id="{10B718C0-9319-4366-B49B-250466C6E13A}"/>
              </a:ext>
            </a:extLst>
          </p:cNvPr>
          <p:cNvSpPr/>
          <p:nvPr/>
        </p:nvSpPr>
        <p:spPr bwMode="auto">
          <a:xfrm>
            <a:off x="8583635" y="5284813"/>
            <a:ext cx="505392" cy="35711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76" name="Rectangle 175">
            <a:extLst>
              <a:ext uri="{FF2B5EF4-FFF2-40B4-BE49-F238E27FC236}">
                <a16:creationId xmlns:a16="http://schemas.microsoft.com/office/drawing/2014/main" id="{CC5B8552-71CD-4930-97C2-06DDD77C4E63}"/>
              </a:ext>
            </a:extLst>
          </p:cNvPr>
          <p:cNvSpPr/>
          <p:nvPr/>
        </p:nvSpPr>
        <p:spPr bwMode="auto">
          <a:xfrm>
            <a:off x="5158612" y="5190212"/>
            <a:ext cx="417947" cy="53616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74" name="Rectangle 173">
            <a:extLst>
              <a:ext uri="{FF2B5EF4-FFF2-40B4-BE49-F238E27FC236}">
                <a16:creationId xmlns:a16="http://schemas.microsoft.com/office/drawing/2014/main" id="{632386D2-E87F-49F1-8F1F-C523E8AC55B6}"/>
              </a:ext>
            </a:extLst>
          </p:cNvPr>
          <p:cNvSpPr/>
          <p:nvPr/>
        </p:nvSpPr>
        <p:spPr bwMode="auto">
          <a:xfrm>
            <a:off x="4157661" y="5244393"/>
            <a:ext cx="558919" cy="3975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73" name="Rectangle 172">
            <a:extLst>
              <a:ext uri="{FF2B5EF4-FFF2-40B4-BE49-F238E27FC236}">
                <a16:creationId xmlns:a16="http://schemas.microsoft.com/office/drawing/2014/main" id="{643FBEAC-552E-4666-85C1-2656AD84811C}"/>
              </a:ext>
            </a:extLst>
          </p:cNvPr>
          <p:cNvSpPr/>
          <p:nvPr/>
        </p:nvSpPr>
        <p:spPr bwMode="auto">
          <a:xfrm>
            <a:off x="3179118" y="5190212"/>
            <a:ext cx="411892" cy="6864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Title 2"/>
          <p:cNvSpPr>
            <a:spLocks noGrp="1"/>
          </p:cNvSpPr>
          <p:nvPr>
            <p:ph type="title"/>
          </p:nvPr>
        </p:nvSpPr>
        <p:spPr>
          <a:xfrm>
            <a:off x="589044" y="457621"/>
            <a:ext cx="11016957" cy="1107996"/>
          </a:xfrm>
        </p:spPr>
        <p:txBody>
          <a:bodyPr/>
          <a:lstStyle/>
          <a:p>
            <a:pPr algn="ctr" defTabSz="932293" fontAlgn="base">
              <a:spcAft>
                <a:spcPct val="0"/>
              </a:spcAft>
              <a:defRPr/>
            </a:pPr>
            <a:r>
              <a:rPr lang="en-US" dirty="0">
                <a:cs typeface="Segoe UI Light" panose="020B0502040204020203" pitchFamily="34" charset="0"/>
              </a:rPr>
              <a:t>Flexible deployment</a:t>
            </a:r>
            <a:br>
              <a:rPr lang="en-US" dirty="0">
                <a:cs typeface="Segoe UI Light" panose="020B0502040204020203" pitchFamily="34" charset="0"/>
              </a:rPr>
            </a:br>
            <a:r>
              <a:rPr lang="en-US" sz="1800" b="0" spc="0" dirty="0">
                <a:ln>
                  <a:noFill/>
                </a:ln>
                <a:solidFill>
                  <a:schemeClr val="accent3"/>
                </a:solidFill>
              </a:rPr>
              <a:t>Deploy and manage models on intelligent cloud and edge</a:t>
            </a:r>
            <a:br>
              <a:rPr lang="en-US" sz="1800" dirty="0"/>
            </a:br>
            <a:endParaRPr lang="en-US" sz="1800" b="0" spc="0" dirty="0">
              <a:ln>
                <a:noFill/>
              </a:ln>
              <a:solidFill>
                <a:srgbClr val="0078D7"/>
              </a:solidFill>
              <a:latin typeface="Segoe UI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C6A6236-3E67-4B4C-BE93-39D3FF109FFB}"/>
              </a:ext>
            </a:extLst>
          </p:cNvPr>
          <p:cNvSpPr/>
          <p:nvPr/>
        </p:nvSpPr>
        <p:spPr bwMode="auto">
          <a:xfrm>
            <a:off x="5268991" y="5285535"/>
            <a:ext cx="192535" cy="3059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92" name="Group 196">
            <a:extLst>
              <a:ext uri="{FF2B5EF4-FFF2-40B4-BE49-F238E27FC236}">
                <a16:creationId xmlns:a16="http://schemas.microsoft.com/office/drawing/2014/main" id="{064A158A-07AA-4BC1-8A67-16F1A71134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58501" y="5300369"/>
            <a:ext cx="206281" cy="393070"/>
            <a:chOff x="7261" y="805"/>
            <a:chExt cx="127" cy="242"/>
          </a:xfrm>
          <a:noFill/>
        </p:grpSpPr>
        <p:sp>
          <p:nvSpPr>
            <p:cNvPr id="93" name="Freeform 197">
              <a:extLst>
                <a:ext uri="{FF2B5EF4-FFF2-40B4-BE49-F238E27FC236}">
                  <a16:creationId xmlns:a16="http://schemas.microsoft.com/office/drawing/2014/main" id="{47DE2072-1EFF-4B16-8ADC-98CA1C313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3" y="805"/>
              <a:ext cx="65" cy="194"/>
            </a:xfrm>
            <a:custGeom>
              <a:avLst/>
              <a:gdLst>
                <a:gd name="T0" fmla="*/ 90 w 90"/>
                <a:gd name="T1" fmla="*/ 166 h 268"/>
                <a:gd name="T2" fmla="*/ 90 w 90"/>
                <a:gd name="T3" fmla="*/ 46 h 268"/>
                <a:gd name="T4" fmla="*/ 45 w 90"/>
                <a:gd name="T5" fmla="*/ 0 h 268"/>
                <a:gd name="T6" fmla="*/ 0 w 90"/>
                <a:gd name="T7" fmla="*/ 46 h 268"/>
                <a:gd name="T8" fmla="*/ 0 w 90"/>
                <a:gd name="T9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68">
                  <a:moveTo>
                    <a:pt x="90" y="166"/>
                  </a:moveTo>
                  <a:cubicBezTo>
                    <a:pt x="90" y="46"/>
                    <a:pt x="90" y="46"/>
                    <a:pt x="90" y="46"/>
                  </a:cubicBezTo>
                  <a:cubicBezTo>
                    <a:pt x="90" y="20"/>
                    <a:pt x="70" y="0"/>
                    <a:pt x="45" y="0"/>
                  </a:cubicBezTo>
                  <a:cubicBezTo>
                    <a:pt x="20" y="0"/>
                    <a:pt x="0" y="20"/>
                    <a:pt x="0" y="46"/>
                  </a:cubicBezTo>
                  <a:cubicBezTo>
                    <a:pt x="0" y="268"/>
                    <a:pt x="0" y="268"/>
                    <a:pt x="0" y="268"/>
                  </a:cubicBezTo>
                </a:path>
              </a:pathLst>
            </a:cu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95" name="Freeform 198">
              <a:extLst>
                <a:ext uri="{FF2B5EF4-FFF2-40B4-BE49-F238E27FC236}">
                  <a16:creationId xmlns:a16="http://schemas.microsoft.com/office/drawing/2014/main" id="{75221B70-A0DB-49B7-AF1D-3C17C890E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" y="805"/>
              <a:ext cx="95" cy="194"/>
            </a:xfrm>
            <a:custGeom>
              <a:avLst/>
              <a:gdLst>
                <a:gd name="T0" fmla="*/ 131 w 131"/>
                <a:gd name="T1" fmla="*/ 0 h 268"/>
                <a:gd name="T2" fmla="*/ 45 w 131"/>
                <a:gd name="T3" fmla="*/ 0 h 268"/>
                <a:gd name="T4" fmla="*/ 0 w 131"/>
                <a:gd name="T5" fmla="*/ 46 h 268"/>
                <a:gd name="T6" fmla="*/ 0 w 131"/>
                <a:gd name="T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1" h="268">
                  <a:moveTo>
                    <a:pt x="131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6"/>
                  </a:cubicBezTo>
                  <a:cubicBezTo>
                    <a:pt x="0" y="268"/>
                    <a:pt x="0" y="268"/>
                    <a:pt x="0" y="268"/>
                  </a:cubicBezTo>
                </a:path>
              </a:pathLst>
            </a:cu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96" name="Freeform 199">
              <a:extLst>
                <a:ext uri="{FF2B5EF4-FFF2-40B4-BE49-F238E27FC236}">
                  <a16:creationId xmlns:a16="http://schemas.microsoft.com/office/drawing/2014/main" id="{BD320A31-1017-4F57-90E1-FD938C866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2" y="992"/>
              <a:ext cx="66" cy="55"/>
            </a:xfrm>
            <a:custGeom>
              <a:avLst/>
              <a:gdLst>
                <a:gd name="T0" fmla="*/ 91 w 91"/>
                <a:gd name="T1" fmla="*/ 0 h 77"/>
                <a:gd name="T2" fmla="*/ 91 w 91"/>
                <a:gd name="T3" fmla="*/ 32 h 77"/>
                <a:gd name="T4" fmla="*/ 46 w 91"/>
                <a:gd name="T5" fmla="*/ 77 h 77"/>
                <a:gd name="T6" fmla="*/ 0 w 91"/>
                <a:gd name="T7" fmla="*/ 32 h 77"/>
                <a:gd name="T8" fmla="*/ 0 w 91"/>
                <a:gd name="T9" fmla="*/ 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77">
                  <a:moveTo>
                    <a:pt x="91" y="0"/>
                  </a:moveTo>
                  <a:cubicBezTo>
                    <a:pt x="91" y="32"/>
                    <a:pt x="91" y="32"/>
                    <a:pt x="91" y="32"/>
                  </a:cubicBezTo>
                  <a:cubicBezTo>
                    <a:pt x="91" y="57"/>
                    <a:pt x="71" y="77"/>
                    <a:pt x="46" y="77"/>
                  </a:cubicBezTo>
                  <a:cubicBezTo>
                    <a:pt x="21" y="77"/>
                    <a:pt x="0" y="57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</a:path>
              </a:pathLst>
            </a:cu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97" name="Freeform 200">
              <a:extLst>
                <a:ext uri="{FF2B5EF4-FFF2-40B4-BE49-F238E27FC236}">
                  <a16:creationId xmlns:a16="http://schemas.microsoft.com/office/drawing/2014/main" id="{D9874F76-1178-4036-926A-A125ADC00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" y="996"/>
              <a:ext cx="95" cy="51"/>
            </a:xfrm>
            <a:custGeom>
              <a:avLst/>
              <a:gdLst>
                <a:gd name="T0" fmla="*/ 131 w 131"/>
                <a:gd name="T1" fmla="*/ 71 h 71"/>
                <a:gd name="T2" fmla="*/ 45 w 131"/>
                <a:gd name="T3" fmla="*/ 71 h 71"/>
                <a:gd name="T4" fmla="*/ 0 w 131"/>
                <a:gd name="T5" fmla="*/ 26 h 71"/>
                <a:gd name="T6" fmla="*/ 0 w 131"/>
                <a:gd name="T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1" h="71">
                  <a:moveTo>
                    <a:pt x="131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20" y="71"/>
                    <a:pt x="0" y="51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98" name="Oval 201">
              <a:extLst>
                <a:ext uri="{FF2B5EF4-FFF2-40B4-BE49-F238E27FC236}">
                  <a16:creationId xmlns:a16="http://schemas.microsoft.com/office/drawing/2014/main" id="{3FFA8A7E-CEDA-4488-A8B2-65BC12E744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7" y="878"/>
              <a:ext cx="9" cy="8"/>
            </a:xfrm>
            <a:prstGeom prst="ellipse">
              <a:avLst/>
            </a:pr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99" name="Oval 202">
              <a:extLst>
                <a:ext uri="{FF2B5EF4-FFF2-40B4-BE49-F238E27FC236}">
                  <a16:creationId xmlns:a16="http://schemas.microsoft.com/office/drawing/2014/main" id="{39D53719-0A04-48F0-8231-BE40B773B6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7" y="923"/>
              <a:ext cx="9" cy="8"/>
            </a:xfrm>
            <a:prstGeom prst="ellipse">
              <a:avLst/>
            </a:pr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101" name="Oval 203">
              <a:extLst>
                <a:ext uri="{FF2B5EF4-FFF2-40B4-BE49-F238E27FC236}">
                  <a16:creationId xmlns:a16="http://schemas.microsoft.com/office/drawing/2014/main" id="{DE20EAB7-B881-48DA-A7C1-47644C0769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7" y="967"/>
              <a:ext cx="9" cy="8"/>
            </a:xfrm>
            <a:prstGeom prst="ellipse">
              <a:avLst/>
            </a:pr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</p:grpSp>
      <p:sp>
        <p:nvSpPr>
          <p:cNvPr id="104" name="Freeform 41">
            <a:extLst>
              <a:ext uri="{FF2B5EF4-FFF2-40B4-BE49-F238E27FC236}">
                <a16:creationId xmlns:a16="http://schemas.microsoft.com/office/drawing/2014/main" id="{1642E5DA-53B1-4CDC-B413-E2983663A94F}"/>
              </a:ext>
            </a:extLst>
          </p:cNvPr>
          <p:cNvSpPr>
            <a:spLocks noEditPoints="1"/>
          </p:cNvSpPr>
          <p:nvPr/>
        </p:nvSpPr>
        <p:spPr bwMode="auto">
          <a:xfrm>
            <a:off x="4201168" y="5326598"/>
            <a:ext cx="444011" cy="277507"/>
          </a:xfrm>
          <a:custGeom>
            <a:avLst/>
            <a:gdLst>
              <a:gd name="T0" fmla="*/ 208 w 208"/>
              <a:gd name="T1" fmla="*/ 54 h 130"/>
              <a:gd name="T2" fmla="*/ 208 w 208"/>
              <a:gd name="T3" fmla="*/ 130 h 130"/>
              <a:gd name="T4" fmla="*/ 0 w 208"/>
              <a:gd name="T5" fmla="*/ 130 h 130"/>
              <a:gd name="T6" fmla="*/ 0 w 208"/>
              <a:gd name="T7" fmla="*/ 54 h 130"/>
              <a:gd name="T8" fmla="*/ 40 w 208"/>
              <a:gd name="T9" fmla="*/ 24 h 130"/>
              <a:gd name="T10" fmla="*/ 40 w 208"/>
              <a:gd name="T11" fmla="*/ 54 h 130"/>
              <a:gd name="T12" fmla="*/ 85 w 208"/>
              <a:gd name="T13" fmla="*/ 24 h 130"/>
              <a:gd name="T14" fmla="*/ 85 w 208"/>
              <a:gd name="T15" fmla="*/ 54 h 130"/>
              <a:gd name="T16" fmla="*/ 208 w 208"/>
              <a:gd name="T17" fmla="*/ 54 h 130"/>
              <a:gd name="T18" fmla="*/ 163 w 208"/>
              <a:gd name="T19" fmla="*/ 54 h 130"/>
              <a:gd name="T20" fmla="*/ 153 w 208"/>
              <a:gd name="T21" fmla="*/ 0 h 130"/>
              <a:gd name="T22" fmla="*/ 144 w 208"/>
              <a:gd name="T23" fmla="*/ 0 h 130"/>
              <a:gd name="T24" fmla="*/ 136 w 208"/>
              <a:gd name="T25" fmla="*/ 54 h 130"/>
              <a:gd name="T26" fmla="*/ 200 w 208"/>
              <a:gd name="T27" fmla="*/ 54 h 130"/>
              <a:gd name="T28" fmla="*/ 189 w 208"/>
              <a:gd name="T29" fmla="*/ 0 h 130"/>
              <a:gd name="T30" fmla="*/ 180 w 208"/>
              <a:gd name="T31" fmla="*/ 0 h 130"/>
              <a:gd name="T32" fmla="*/ 171 w 208"/>
              <a:gd name="T33" fmla="*/ 54 h 130"/>
              <a:gd name="T34" fmla="*/ 30 w 208"/>
              <a:gd name="T35" fmla="*/ 77 h 130"/>
              <a:gd name="T36" fmla="*/ 19 w 208"/>
              <a:gd name="T37" fmla="*/ 77 h 130"/>
              <a:gd name="T38" fmla="*/ 19 w 208"/>
              <a:gd name="T39" fmla="*/ 88 h 130"/>
              <a:gd name="T40" fmla="*/ 30 w 208"/>
              <a:gd name="T41" fmla="*/ 88 h 130"/>
              <a:gd name="T42" fmla="*/ 30 w 208"/>
              <a:gd name="T43" fmla="*/ 77 h 130"/>
              <a:gd name="T44" fmla="*/ 69 w 208"/>
              <a:gd name="T45" fmla="*/ 77 h 130"/>
              <a:gd name="T46" fmla="*/ 59 w 208"/>
              <a:gd name="T47" fmla="*/ 77 h 130"/>
              <a:gd name="T48" fmla="*/ 59 w 208"/>
              <a:gd name="T49" fmla="*/ 88 h 130"/>
              <a:gd name="T50" fmla="*/ 69 w 208"/>
              <a:gd name="T51" fmla="*/ 88 h 130"/>
              <a:gd name="T52" fmla="*/ 69 w 208"/>
              <a:gd name="T53" fmla="*/ 77 h 130"/>
              <a:gd name="T54" fmla="*/ 109 w 208"/>
              <a:gd name="T55" fmla="*/ 77 h 130"/>
              <a:gd name="T56" fmla="*/ 99 w 208"/>
              <a:gd name="T57" fmla="*/ 77 h 130"/>
              <a:gd name="T58" fmla="*/ 99 w 208"/>
              <a:gd name="T59" fmla="*/ 88 h 130"/>
              <a:gd name="T60" fmla="*/ 109 w 208"/>
              <a:gd name="T61" fmla="*/ 88 h 130"/>
              <a:gd name="T62" fmla="*/ 109 w 208"/>
              <a:gd name="T63" fmla="*/ 77 h 130"/>
              <a:gd name="T64" fmla="*/ 149 w 208"/>
              <a:gd name="T65" fmla="*/ 77 h 130"/>
              <a:gd name="T66" fmla="*/ 139 w 208"/>
              <a:gd name="T67" fmla="*/ 77 h 130"/>
              <a:gd name="T68" fmla="*/ 139 w 208"/>
              <a:gd name="T69" fmla="*/ 88 h 130"/>
              <a:gd name="T70" fmla="*/ 149 w 208"/>
              <a:gd name="T71" fmla="*/ 88 h 130"/>
              <a:gd name="T72" fmla="*/ 149 w 208"/>
              <a:gd name="T73" fmla="*/ 77 h 130"/>
              <a:gd name="T74" fmla="*/ 189 w 208"/>
              <a:gd name="T75" fmla="*/ 77 h 130"/>
              <a:gd name="T76" fmla="*/ 179 w 208"/>
              <a:gd name="T77" fmla="*/ 77 h 130"/>
              <a:gd name="T78" fmla="*/ 179 w 208"/>
              <a:gd name="T79" fmla="*/ 88 h 130"/>
              <a:gd name="T80" fmla="*/ 189 w 208"/>
              <a:gd name="T81" fmla="*/ 88 h 130"/>
              <a:gd name="T82" fmla="*/ 189 w 208"/>
              <a:gd name="T83" fmla="*/ 77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08" h="130">
                <a:moveTo>
                  <a:pt x="208" y="54"/>
                </a:moveTo>
                <a:lnTo>
                  <a:pt x="208" y="130"/>
                </a:lnTo>
                <a:lnTo>
                  <a:pt x="0" y="130"/>
                </a:lnTo>
                <a:lnTo>
                  <a:pt x="0" y="54"/>
                </a:lnTo>
                <a:lnTo>
                  <a:pt x="40" y="24"/>
                </a:lnTo>
                <a:lnTo>
                  <a:pt x="40" y="54"/>
                </a:lnTo>
                <a:lnTo>
                  <a:pt x="85" y="24"/>
                </a:lnTo>
                <a:lnTo>
                  <a:pt x="85" y="54"/>
                </a:lnTo>
                <a:lnTo>
                  <a:pt x="208" y="54"/>
                </a:lnTo>
                <a:moveTo>
                  <a:pt x="163" y="54"/>
                </a:moveTo>
                <a:lnTo>
                  <a:pt x="153" y="0"/>
                </a:lnTo>
                <a:lnTo>
                  <a:pt x="144" y="0"/>
                </a:lnTo>
                <a:lnTo>
                  <a:pt x="136" y="54"/>
                </a:lnTo>
                <a:moveTo>
                  <a:pt x="200" y="54"/>
                </a:moveTo>
                <a:lnTo>
                  <a:pt x="189" y="0"/>
                </a:lnTo>
                <a:lnTo>
                  <a:pt x="180" y="0"/>
                </a:lnTo>
                <a:lnTo>
                  <a:pt x="171" y="54"/>
                </a:lnTo>
                <a:moveTo>
                  <a:pt x="30" y="77"/>
                </a:moveTo>
                <a:lnTo>
                  <a:pt x="19" y="77"/>
                </a:lnTo>
                <a:lnTo>
                  <a:pt x="19" y="88"/>
                </a:lnTo>
                <a:lnTo>
                  <a:pt x="30" y="88"/>
                </a:lnTo>
                <a:lnTo>
                  <a:pt x="30" y="77"/>
                </a:lnTo>
                <a:moveTo>
                  <a:pt x="69" y="77"/>
                </a:moveTo>
                <a:lnTo>
                  <a:pt x="59" y="77"/>
                </a:lnTo>
                <a:lnTo>
                  <a:pt x="59" y="88"/>
                </a:lnTo>
                <a:lnTo>
                  <a:pt x="69" y="88"/>
                </a:lnTo>
                <a:lnTo>
                  <a:pt x="69" y="77"/>
                </a:lnTo>
                <a:moveTo>
                  <a:pt x="109" y="77"/>
                </a:moveTo>
                <a:lnTo>
                  <a:pt x="99" y="77"/>
                </a:lnTo>
                <a:lnTo>
                  <a:pt x="99" y="88"/>
                </a:lnTo>
                <a:lnTo>
                  <a:pt x="109" y="88"/>
                </a:lnTo>
                <a:lnTo>
                  <a:pt x="109" y="77"/>
                </a:lnTo>
                <a:moveTo>
                  <a:pt x="149" y="77"/>
                </a:moveTo>
                <a:lnTo>
                  <a:pt x="139" y="77"/>
                </a:lnTo>
                <a:lnTo>
                  <a:pt x="139" y="88"/>
                </a:lnTo>
                <a:lnTo>
                  <a:pt x="149" y="88"/>
                </a:lnTo>
                <a:lnTo>
                  <a:pt x="149" y="77"/>
                </a:lnTo>
                <a:moveTo>
                  <a:pt x="189" y="77"/>
                </a:moveTo>
                <a:lnTo>
                  <a:pt x="179" y="77"/>
                </a:lnTo>
                <a:lnTo>
                  <a:pt x="179" y="88"/>
                </a:lnTo>
                <a:lnTo>
                  <a:pt x="189" y="88"/>
                </a:lnTo>
                <a:lnTo>
                  <a:pt x="189" y="77"/>
                </a:lnTo>
              </a:path>
            </a:pathLst>
          </a:custGeom>
          <a:solidFill>
            <a:schemeClr val="bg1"/>
          </a:solidFill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61094" tIns="30547" rIns="61094" bIns="30547" numCol="1" anchor="t" anchorCtr="0" compatLnSpc="1">
            <a:prstTxWarp prst="textNoShape">
              <a:avLst/>
            </a:prstTxWarp>
          </a:bodyPr>
          <a:lstStyle/>
          <a:p>
            <a:pPr defTabSz="623113">
              <a:defRPr/>
            </a:pPr>
            <a:endParaRPr lang="en-US" sz="784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 Semilight"/>
            </a:endParaRPr>
          </a:p>
        </p:txBody>
      </p:sp>
      <p:grpSp>
        <p:nvGrpSpPr>
          <p:cNvPr id="105" name="Group 8">
            <a:extLst>
              <a:ext uri="{FF2B5EF4-FFF2-40B4-BE49-F238E27FC236}">
                <a16:creationId xmlns:a16="http://schemas.microsoft.com/office/drawing/2014/main" id="{68A58FD1-AD74-4055-8049-D57CFF8DBF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92654" y="5307653"/>
            <a:ext cx="419840" cy="341121"/>
            <a:chOff x="5458" y="3157"/>
            <a:chExt cx="304" cy="247"/>
          </a:xfrm>
          <a:solidFill>
            <a:schemeClr val="bg1"/>
          </a:solidFill>
        </p:grpSpPr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904394E6-5075-44F1-ADD8-6EF489678A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1" y="3157"/>
              <a:ext cx="241" cy="247"/>
            </a:xfrm>
            <a:custGeom>
              <a:avLst/>
              <a:gdLst>
                <a:gd name="T0" fmla="*/ 35 w 334"/>
                <a:gd name="T1" fmla="*/ 160 h 341"/>
                <a:gd name="T2" fmla="*/ 35 w 334"/>
                <a:gd name="T3" fmla="*/ 61 h 341"/>
                <a:gd name="T4" fmla="*/ 60 w 334"/>
                <a:gd name="T5" fmla="*/ 36 h 341"/>
                <a:gd name="T6" fmla="*/ 266 w 334"/>
                <a:gd name="T7" fmla="*/ 36 h 341"/>
                <a:gd name="T8" fmla="*/ 291 w 334"/>
                <a:gd name="T9" fmla="*/ 61 h 341"/>
                <a:gd name="T10" fmla="*/ 291 w 334"/>
                <a:gd name="T11" fmla="*/ 273 h 341"/>
                <a:gd name="T12" fmla="*/ 266 w 334"/>
                <a:gd name="T13" fmla="*/ 298 h 341"/>
                <a:gd name="T14" fmla="*/ 266 w 334"/>
                <a:gd name="T15" fmla="*/ 298 h 341"/>
                <a:gd name="T16" fmla="*/ 84 w 334"/>
                <a:gd name="T17" fmla="*/ 298 h 341"/>
                <a:gd name="T18" fmla="*/ 78 w 334"/>
                <a:gd name="T19" fmla="*/ 36 h 341"/>
                <a:gd name="T20" fmla="*/ 78 w 334"/>
                <a:gd name="T21" fmla="*/ 0 h 341"/>
                <a:gd name="T22" fmla="*/ 121 w 334"/>
                <a:gd name="T23" fmla="*/ 36 h 341"/>
                <a:gd name="T24" fmla="*/ 121 w 334"/>
                <a:gd name="T25" fmla="*/ 0 h 341"/>
                <a:gd name="T26" fmla="*/ 163 w 334"/>
                <a:gd name="T27" fmla="*/ 0 h 341"/>
                <a:gd name="T28" fmla="*/ 163 w 334"/>
                <a:gd name="T29" fmla="*/ 36 h 341"/>
                <a:gd name="T30" fmla="*/ 206 w 334"/>
                <a:gd name="T31" fmla="*/ 0 h 341"/>
                <a:gd name="T32" fmla="*/ 206 w 334"/>
                <a:gd name="T33" fmla="*/ 36 h 341"/>
                <a:gd name="T34" fmla="*/ 255 w 334"/>
                <a:gd name="T35" fmla="*/ 0 h 341"/>
                <a:gd name="T36" fmla="*/ 255 w 334"/>
                <a:gd name="T37" fmla="*/ 36 h 341"/>
                <a:gd name="T38" fmla="*/ 334 w 334"/>
                <a:gd name="T39" fmla="*/ 78 h 341"/>
                <a:gd name="T40" fmla="*/ 291 w 334"/>
                <a:gd name="T41" fmla="*/ 78 h 341"/>
                <a:gd name="T42" fmla="*/ 334 w 334"/>
                <a:gd name="T43" fmla="*/ 121 h 341"/>
                <a:gd name="T44" fmla="*/ 291 w 334"/>
                <a:gd name="T45" fmla="*/ 121 h 341"/>
                <a:gd name="T46" fmla="*/ 334 w 334"/>
                <a:gd name="T47" fmla="*/ 163 h 341"/>
                <a:gd name="T48" fmla="*/ 291 w 334"/>
                <a:gd name="T49" fmla="*/ 163 h 341"/>
                <a:gd name="T50" fmla="*/ 334 w 334"/>
                <a:gd name="T51" fmla="*/ 213 h 341"/>
                <a:gd name="T52" fmla="*/ 291 w 334"/>
                <a:gd name="T53" fmla="*/ 213 h 341"/>
                <a:gd name="T54" fmla="*/ 334 w 334"/>
                <a:gd name="T55" fmla="*/ 256 h 341"/>
                <a:gd name="T56" fmla="*/ 291 w 334"/>
                <a:gd name="T57" fmla="*/ 256 h 341"/>
                <a:gd name="T58" fmla="*/ 35 w 334"/>
                <a:gd name="T59" fmla="*/ 78 h 341"/>
                <a:gd name="T60" fmla="*/ 0 w 334"/>
                <a:gd name="T61" fmla="*/ 78 h 341"/>
                <a:gd name="T62" fmla="*/ 35 w 334"/>
                <a:gd name="T63" fmla="*/ 121 h 341"/>
                <a:gd name="T64" fmla="*/ 0 w 334"/>
                <a:gd name="T65" fmla="*/ 121 h 341"/>
                <a:gd name="T66" fmla="*/ 35 w 334"/>
                <a:gd name="T67" fmla="*/ 163 h 341"/>
                <a:gd name="T68" fmla="*/ 0 w 334"/>
                <a:gd name="T69" fmla="*/ 163 h 341"/>
                <a:gd name="T70" fmla="*/ 121 w 334"/>
                <a:gd name="T71" fmla="*/ 298 h 341"/>
                <a:gd name="T72" fmla="*/ 121 w 334"/>
                <a:gd name="T73" fmla="*/ 341 h 341"/>
                <a:gd name="T74" fmla="*/ 163 w 334"/>
                <a:gd name="T75" fmla="*/ 341 h 341"/>
                <a:gd name="T76" fmla="*/ 163 w 334"/>
                <a:gd name="T77" fmla="*/ 298 h 341"/>
                <a:gd name="T78" fmla="*/ 206 w 334"/>
                <a:gd name="T79" fmla="*/ 298 h 341"/>
                <a:gd name="T80" fmla="*/ 206 w 334"/>
                <a:gd name="T81" fmla="*/ 341 h 341"/>
                <a:gd name="T82" fmla="*/ 255 w 334"/>
                <a:gd name="T83" fmla="*/ 298 h 341"/>
                <a:gd name="T84" fmla="*/ 255 w 334"/>
                <a:gd name="T85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4" h="341">
                  <a:moveTo>
                    <a:pt x="35" y="160"/>
                  </a:moveTo>
                  <a:cubicBezTo>
                    <a:pt x="35" y="65"/>
                    <a:pt x="35" y="61"/>
                    <a:pt x="35" y="61"/>
                  </a:cubicBezTo>
                  <a:cubicBezTo>
                    <a:pt x="35" y="45"/>
                    <a:pt x="48" y="36"/>
                    <a:pt x="60" y="36"/>
                  </a:cubicBezTo>
                  <a:cubicBezTo>
                    <a:pt x="266" y="36"/>
                    <a:pt x="266" y="36"/>
                    <a:pt x="266" y="36"/>
                  </a:cubicBezTo>
                  <a:cubicBezTo>
                    <a:pt x="282" y="36"/>
                    <a:pt x="291" y="45"/>
                    <a:pt x="291" y="61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1" y="286"/>
                    <a:pt x="282" y="298"/>
                    <a:pt x="266" y="298"/>
                  </a:cubicBezTo>
                  <a:cubicBezTo>
                    <a:pt x="266" y="298"/>
                    <a:pt x="266" y="298"/>
                    <a:pt x="266" y="298"/>
                  </a:cubicBezTo>
                  <a:cubicBezTo>
                    <a:pt x="161" y="298"/>
                    <a:pt x="110" y="298"/>
                    <a:pt x="84" y="298"/>
                  </a:cubicBezTo>
                  <a:moveTo>
                    <a:pt x="78" y="36"/>
                  </a:moveTo>
                  <a:cubicBezTo>
                    <a:pt x="78" y="0"/>
                    <a:pt x="78" y="0"/>
                    <a:pt x="78" y="0"/>
                  </a:cubicBezTo>
                  <a:moveTo>
                    <a:pt x="121" y="36"/>
                  </a:moveTo>
                  <a:cubicBezTo>
                    <a:pt x="121" y="0"/>
                    <a:pt x="121" y="0"/>
                    <a:pt x="121" y="0"/>
                  </a:cubicBezTo>
                  <a:moveTo>
                    <a:pt x="163" y="0"/>
                  </a:moveTo>
                  <a:cubicBezTo>
                    <a:pt x="163" y="36"/>
                    <a:pt x="163" y="36"/>
                    <a:pt x="163" y="36"/>
                  </a:cubicBezTo>
                  <a:moveTo>
                    <a:pt x="206" y="0"/>
                  </a:moveTo>
                  <a:cubicBezTo>
                    <a:pt x="206" y="36"/>
                    <a:pt x="206" y="36"/>
                    <a:pt x="206" y="36"/>
                  </a:cubicBezTo>
                  <a:moveTo>
                    <a:pt x="255" y="0"/>
                  </a:moveTo>
                  <a:cubicBezTo>
                    <a:pt x="255" y="36"/>
                    <a:pt x="255" y="36"/>
                    <a:pt x="255" y="36"/>
                  </a:cubicBezTo>
                  <a:moveTo>
                    <a:pt x="334" y="78"/>
                  </a:moveTo>
                  <a:cubicBezTo>
                    <a:pt x="291" y="78"/>
                    <a:pt x="291" y="78"/>
                    <a:pt x="291" y="78"/>
                  </a:cubicBezTo>
                  <a:moveTo>
                    <a:pt x="334" y="121"/>
                  </a:moveTo>
                  <a:cubicBezTo>
                    <a:pt x="291" y="121"/>
                    <a:pt x="291" y="121"/>
                    <a:pt x="291" y="121"/>
                  </a:cubicBezTo>
                  <a:moveTo>
                    <a:pt x="334" y="163"/>
                  </a:moveTo>
                  <a:cubicBezTo>
                    <a:pt x="291" y="163"/>
                    <a:pt x="291" y="163"/>
                    <a:pt x="291" y="163"/>
                  </a:cubicBezTo>
                  <a:moveTo>
                    <a:pt x="334" y="213"/>
                  </a:moveTo>
                  <a:cubicBezTo>
                    <a:pt x="291" y="213"/>
                    <a:pt x="291" y="213"/>
                    <a:pt x="291" y="213"/>
                  </a:cubicBezTo>
                  <a:moveTo>
                    <a:pt x="334" y="256"/>
                  </a:moveTo>
                  <a:cubicBezTo>
                    <a:pt x="291" y="256"/>
                    <a:pt x="291" y="256"/>
                    <a:pt x="291" y="256"/>
                  </a:cubicBezTo>
                  <a:moveTo>
                    <a:pt x="35" y="78"/>
                  </a:moveTo>
                  <a:cubicBezTo>
                    <a:pt x="0" y="78"/>
                    <a:pt x="0" y="78"/>
                    <a:pt x="0" y="78"/>
                  </a:cubicBezTo>
                  <a:moveTo>
                    <a:pt x="35" y="121"/>
                  </a:moveTo>
                  <a:cubicBezTo>
                    <a:pt x="0" y="121"/>
                    <a:pt x="0" y="121"/>
                    <a:pt x="0" y="121"/>
                  </a:cubicBezTo>
                  <a:moveTo>
                    <a:pt x="35" y="163"/>
                  </a:moveTo>
                  <a:cubicBezTo>
                    <a:pt x="0" y="163"/>
                    <a:pt x="0" y="163"/>
                    <a:pt x="0" y="163"/>
                  </a:cubicBezTo>
                  <a:moveTo>
                    <a:pt x="121" y="298"/>
                  </a:moveTo>
                  <a:cubicBezTo>
                    <a:pt x="121" y="341"/>
                    <a:pt x="121" y="341"/>
                    <a:pt x="121" y="341"/>
                  </a:cubicBezTo>
                  <a:moveTo>
                    <a:pt x="163" y="341"/>
                  </a:moveTo>
                  <a:cubicBezTo>
                    <a:pt x="163" y="298"/>
                    <a:pt x="163" y="298"/>
                    <a:pt x="163" y="298"/>
                  </a:cubicBezTo>
                  <a:moveTo>
                    <a:pt x="206" y="298"/>
                  </a:moveTo>
                  <a:cubicBezTo>
                    <a:pt x="206" y="341"/>
                    <a:pt x="206" y="341"/>
                    <a:pt x="206" y="341"/>
                  </a:cubicBezTo>
                  <a:moveTo>
                    <a:pt x="255" y="298"/>
                  </a:moveTo>
                  <a:cubicBezTo>
                    <a:pt x="255" y="341"/>
                    <a:pt x="255" y="341"/>
                    <a:pt x="255" y="341"/>
                  </a:cubicBez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784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CDA5059E-F7E3-4517-8B9A-EEA4149416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8" y="3262"/>
              <a:ext cx="138" cy="141"/>
            </a:xfrm>
            <a:custGeom>
              <a:avLst/>
              <a:gdLst>
                <a:gd name="T0" fmla="*/ 153 w 191"/>
                <a:gd name="T1" fmla="*/ 171 h 195"/>
                <a:gd name="T2" fmla="*/ 35 w 191"/>
                <a:gd name="T3" fmla="*/ 171 h 195"/>
                <a:gd name="T4" fmla="*/ 21 w 191"/>
                <a:gd name="T5" fmla="*/ 156 h 195"/>
                <a:gd name="T6" fmla="*/ 21 w 191"/>
                <a:gd name="T7" fmla="*/ 35 h 195"/>
                <a:gd name="T8" fmla="*/ 35 w 191"/>
                <a:gd name="T9" fmla="*/ 20 h 195"/>
                <a:gd name="T10" fmla="*/ 153 w 191"/>
                <a:gd name="T11" fmla="*/ 20 h 195"/>
                <a:gd name="T12" fmla="*/ 167 w 191"/>
                <a:gd name="T13" fmla="*/ 35 h 195"/>
                <a:gd name="T14" fmla="*/ 167 w 191"/>
                <a:gd name="T15" fmla="*/ 156 h 195"/>
                <a:gd name="T16" fmla="*/ 153 w 191"/>
                <a:gd name="T17" fmla="*/ 171 h 195"/>
                <a:gd name="T18" fmla="*/ 45 w 191"/>
                <a:gd name="T19" fmla="*/ 20 h 195"/>
                <a:gd name="T20" fmla="*/ 45 w 191"/>
                <a:gd name="T21" fmla="*/ 0 h 195"/>
                <a:gd name="T22" fmla="*/ 69 w 191"/>
                <a:gd name="T23" fmla="*/ 20 h 195"/>
                <a:gd name="T24" fmla="*/ 69 w 191"/>
                <a:gd name="T25" fmla="*/ 0 h 195"/>
                <a:gd name="T26" fmla="*/ 94 w 191"/>
                <a:gd name="T27" fmla="*/ 0 h 195"/>
                <a:gd name="T28" fmla="*/ 94 w 191"/>
                <a:gd name="T29" fmla="*/ 20 h 195"/>
                <a:gd name="T30" fmla="*/ 118 w 191"/>
                <a:gd name="T31" fmla="*/ 0 h 195"/>
                <a:gd name="T32" fmla="*/ 118 w 191"/>
                <a:gd name="T33" fmla="*/ 20 h 195"/>
                <a:gd name="T34" fmla="*/ 146 w 191"/>
                <a:gd name="T35" fmla="*/ 0 h 195"/>
                <a:gd name="T36" fmla="*/ 146 w 191"/>
                <a:gd name="T37" fmla="*/ 20 h 195"/>
                <a:gd name="T38" fmla="*/ 191 w 191"/>
                <a:gd name="T39" fmla="*/ 45 h 195"/>
                <a:gd name="T40" fmla="*/ 167 w 191"/>
                <a:gd name="T41" fmla="*/ 45 h 195"/>
                <a:gd name="T42" fmla="*/ 191 w 191"/>
                <a:gd name="T43" fmla="*/ 69 h 195"/>
                <a:gd name="T44" fmla="*/ 167 w 191"/>
                <a:gd name="T45" fmla="*/ 69 h 195"/>
                <a:gd name="T46" fmla="*/ 191 w 191"/>
                <a:gd name="T47" fmla="*/ 93 h 195"/>
                <a:gd name="T48" fmla="*/ 167 w 191"/>
                <a:gd name="T49" fmla="*/ 93 h 195"/>
                <a:gd name="T50" fmla="*/ 191 w 191"/>
                <a:gd name="T51" fmla="*/ 122 h 195"/>
                <a:gd name="T52" fmla="*/ 167 w 191"/>
                <a:gd name="T53" fmla="*/ 122 h 195"/>
                <a:gd name="T54" fmla="*/ 191 w 191"/>
                <a:gd name="T55" fmla="*/ 146 h 195"/>
                <a:gd name="T56" fmla="*/ 167 w 191"/>
                <a:gd name="T57" fmla="*/ 146 h 195"/>
                <a:gd name="T58" fmla="*/ 21 w 191"/>
                <a:gd name="T59" fmla="*/ 45 h 195"/>
                <a:gd name="T60" fmla="*/ 0 w 191"/>
                <a:gd name="T61" fmla="*/ 45 h 195"/>
                <a:gd name="T62" fmla="*/ 21 w 191"/>
                <a:gd name="T63" fmla="*/ 69 h 195"/>
                <a:gd name="T64" fmla="*/ 0 w 191"/>
                <a:gd name="T65" fmla="*/ 69 h 195"/>
                <a:gd name="T66" fmla="*/ 21 w 191"/>
                <a:gd name="T67" fmla="*/ 93 h 195"/>
                <a:gd name="T68" fmla="*/ 0 w 191"/>
                <a:gd name="T69" fmla="*/ 93 h 195"/>
                <a:gd name="T70" fmla="*/ 21 w 191"/>
                <a:gd name="T71" fmla="*/ 122 h 195"/>
                <a:gd name="T72" fmla="*/ 0 w 191"/>
                <a:gd name="T73" fmla="*/ 122 h 195"/>
                <a:gd name="T74" fmla="*/ 21 w 191"/>
                <a:gd name="T75" fmla="*/ 146 h 195"/>
                <a:gd name="T76" fmla="*/ 0 w 191"/>
                <a:gd name="T77" fmla="*/ 146 h 195"/>
                <a:gd name="T78" fmla="*/ 45 w 191"/>
                <a:gd name="T79" fmla="*/ 171 h 195"/>
                <a:gd name="T80" fmla="*/ 45 w 191"/>
                <a:gd name="T81" fmla="*/ 195 h 195"/>
                <a:gd name="T82" fmla="*/ 69 w 191"/>
                <a:gd name="T83" fmla="*/ 171 h 195"/>
                <a:gd name="T84" fmla="*/ 69 w 191"/>
                <a:gd name="T85" fmla="*/ 195 h 195"/>
                <a:gd name="T86" fmla="*/ 94 w 191"/>
                <a:gd name="T87" fmla="*/ 195 h 195"/>
                <a:gd name="T88" fmla="*/ 94 w 191"/>
                <a:gd name="T89" fmla="*/ 171 h 195"/>
                <a:gd name="T90" fmla="*/ 118 w 191"/>
                <a:gd name="T91" fmla="*/ 171 h 195"/>
                <a:gd name="T92" fmla="*/ 118 w 191"/>
                <a:gd name="T93" fmla="*/ 195 h 195"/>
                <a:gd name="T94" fmla="*/ 146 w 191"/>
                <a:gd name="T95" fmla="*/ 171 h 195"/>
                <a:gd name="T96" fmla="*/ 146 w 191"/>
                <a:gd name="T97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1" h="195">
                  <a:moveTo>
                    <a:pt x="153" y="171"/>
                  </a:moveTo>
                  <a:cubicBezTo>
                    <a:pt x="35" y="171"/>
                    <a:pt x="35" y="171"/>
                    <a:pt x="35" y="171"/>
                  </a:cubicBezTo>
                  <a:cubicBezTo>
                    <a:pt x="28" y="171"/>
                    <a:pt x="21" y="163"/>
                    <a:pt x="21" y="156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26"/>
                    <a:pt x="28" y="20"/>
                    <a:pt x="35" y="20"/>
                  </a:cubicBezTo>
                  <a:cubicBezTo>
                    <a:pt x="153" y="20"/>
                    <a:pt x="153" y="20"/>
                    <a:pt x="153" y="20"/>
                  </a:cubicBezTo>
                  <a:cubicBezTo>
                    <a:pt x="162" y="20"/>
                    <a:pt x="167" y="26"/>
                    <a:pt x="167" y="35"/>
                  </a:cubicBezTo>
                  <a:cubicBezTo>
                    <a:pt x="167" y="156"/>
                    <a:pt x="167" y="156"/>
                    <a:pt x="167" y="156"/>
                  </a:cubicBezTo>
                  <a:cubicBezTo>
                    <a:pt x="167" y="163"/>
                    <a:pt x="162" y="171"/>
                    <a:pt x="153" y="171"/>
                  </a:cubicBezTo>
                  <a:close/>
                  <a:moveTo>
                    <a:pt x="45" y="20"/>
                  </a:moveTo>
                  <a:cubicBezTo>
                    <a:pt x="45" y="0"/>
                    <a:pt x="45" y="0"/>
                    <a:pt x="45" y="0"/>
                  </a:cubicBezTo>
                  <a:moveTo>
                    <a:pt x="69" y="20"/>
                  </a:moveTo>
                  <a:cubicBezTo>
                    <a:pt x="69" y="0"/>
                    <a:pt x="69" y="0"/>
                    <a:pt x="69" y="0"/>
                  </a:cubicBezTo>
                  <a:moveTo>
                    <a:pt x="94" y="0"/>
                  </a:moveTo>
                  <a:cubicBezTo>
                    <a:pt x="94" y="20"/>
                    <a:pt x="94" y="20"/>
                    <a:pt x="94" y="20"/>
                  </a:cubicBezTo>
                  <a:moveTo>
                    <a:pt x="118" y="0"/>
                  </a:moveTo>
                  <a:cubicBezTo>
                    <a:pt x="118" y="20"/>
                    <a:pt x="118" y="20"/>
                    <a:pt x="118" y="20"/>
                  </a:cubicBezTo>
                  <a:moveTo>
                    <a:pt x="146" y="0"/>
                  </a:moveTo>
                  <a:cubicBezTo>
                    <a:pt x="146" y="20"/>
                    <a:pt x="146" y="20"/>
                    <a:pt x="146" y="20"/>
                  </a:cubicBezTo>
                  <a:moveTo>
                    <a:pt x="191" y="45"/>
                  </a:moveTo>
                  <a:cubicBezTo>
                    <a:pt x="167" y="45"/>
                    <a:pt x="167" y="45"/>
                    <a:pt x="167" y="45"/>
                  </a:cubicBezTo>
                  <a:moveTo>
                    <a:pt x="191" y="69"/>
                  </a:moveTo>
                  <a:cubicBezTo>
                    <a:pt x="167" y="69"/>
                    <a:pt x="167" y="69"/>
                    <a:pt x="167" y="69"/>
                  </a:cubicBezTo>
                  <a:moveTo>
                    <a:pt x="191" y="93"/>
                  </a:moveTo>
                  <a:cubicBezTo>
                    <a:pt x="167" y="93"/>
                    <a:pt x="167" y="93"/>
                    <a:pt x="167" y="93"/>
                  </a:cubicBezTo>
                  <a:moveTo>
                    <a:pt x="191" y="122"/>
                  </a:moveTo>
                  <a:cubicBezTo>
                    <a:pt x="167" y="122"/>
                    <a:pt x="167" y="122"/>
                    <a:pt x="167" y="122"/>
                  </a:cubicBezTo>
                  <a:moveTo>
                    <a:pt x="191" y="146"/>
                  </a:moveTo>
                  <a:cubicBezTo>
                    <a:pt x="167" y="146"/>
                    <a:pt x="167" y="146"/>
                    <a:pt x="167" y="146"/>
                  </a:cubicBezTo>
                  <a:moveTo>
                    <a:pt x="21" y="45"/>
                  </a:moveTo>
                  <a:cubicBezTo>
                    <a:pt x="0" y="45"/>
                    <a:pt x="0" y="45"/>
                    <a:pt x="0" y="45"/>
                  </a:cubicBezTo>
                  <a:moveTo>
                    <a:pt x="21" y="69"/>
                  </a:moveTo>
                  <a:cubicBezTo>
                    <a:pt x="0" y="69"/>
                    <a:pt x="0" y="69"/>
                    <a:pt x="0" y="69"/>
                  </a:cubicBezTo>
                  <a:moveTo>
                    <a:pt x="21" y="93"/>
                  </a:moveTo>
                  <a:cubicBezTo>
                    <a:pt x="0" y="93"/>
                    <a:pt x="0" y="93"/>
                    <a:pt x="0" y="93"/>
                  </a:cubicBezTo>
                  <a:moveTo>
                    <a:pt x="21" y="122"/>
                  </a:moveTo>
                  <a:cubicBezTo>
                    <a:pt x="0" y="122"/>
                    <a:pt x="0" y="122"/>
                    <a:pt x="0" y="122"/>
                  </a:cubicBezTo>
                  <a:moveTo>
                    <a:pt x="21" y="146"/>
                  </a:moveTo>
                  <a:cubicBezTo>
                    <a:pt x="0" y="146"/>
                    <a:pt x="0" y="146"/>
                    <a:pt x="0" y="146"/>
                  </a:cubicBezTo>
                  <a:moveTo>
                    <a:pt x="45" y="171"/>
                  </a:moveTo>
                  <a:cubicBezTo>
                    <a:pt x="45" y="195"/>
                    <a:pt x="45" y="195"/>
                    <a:pt x="45" y="195"/>
                  </a:cubicBezTo>
                  <a:moveTo>
                    <a:pt x="69" y="171"/>
                  </a:moveTo>
                  <a:cubicBezTo>
                    <a:pt x="69" y="195"/>
                    <a:pt x="69" y="195"/>
                    <a:pt x="69" y="195"/>
                  </a:cubicBezTo>
                  <a:moveTo>
                    <a:pt x="94" y="195"/>
                  </a:moveTo>
                  <a:cubicBezTo>
                    <a:pt x="94" y="171"/>
                    <a:pt x="94" y="171"/>
                    <a:pt x="94" y="171"/>
                  </a:cubicBezTo>
                  <a:moveTo>
                    <a:pt x="118" y="171"/>
                  </a:moveTo>
                  <a:cubicBezTo>
                    <a:pt x="118" y="195"/>
                    <a:pt x="118" y="195"/>
                    <a:pt x="118" y="195"/>
                  </a:cubicBezTo>
                  <a:moveTo>
                    <a:pt x="146" y="171"/>
                  </a:moveTo>
                  <a:cubicBezTo>
                    <a:pt x="146" y="195"/>
                    <a:pt x="146" y="195"/>
                    <a:pt x="146" y="195"/>
                  </a:cubicBez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784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 useBgFill="1">
        <p:nvSpPr>
          <p:cNvPr id="111" name="Rectangle 110">
            <a:extLst>
              <a:ext uri="{FF2B5EF4-FFF2-40B4-BE49-F238E27FC236}">
                <a16:creationId xmlns:a16="http://schemas.microsoft.com/office/drawing/2014/main" id="{27AC5A16-EEB1-4387-ADEF-0C8B6A1C32D7}"/>
              </a:ext>
            </a:extLst>
          </p:cNvPr>
          <p:cNvSpPr/>
          <p:nvPr/>
        </p:nvSpPr>
        <p:spPr bwMode="auto">
          <a:xfrm>
            <a:off x="5984543" y="5308544"/>
            <a:ext cx="500191" cy="36511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9" name="car" title="Icon of a car">
            <a:extLst>
              <a:ext uri="{FF2B5EF4-FFF2-40B4-BE49-F238E27FC236}">
                <a16:creationId xmlns:a16="http://schemas.microsoft.com/office/drawing/2014/main" id="{4C5B8955-8AE3-4B58-A8D0-A3532AF9837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211371" y="5341743"/>
            <a:ext cx="345257" cy="264565"/>
          </a:xfrm>
          <a:custGeom>
            <a:avLst/>
            <a:gdLst>
              <a:gd name="T0" fmla="*/ 349 w 360"/>
              <a:gd name="T1" fmla="*/ 148 h 276"/>
              <a:gd name="T2" fmla="*/ 349 w 360"/>
              <a:gd name="T3" fmla="*/ 252 h 276"/>
              <a:gd name="T4" fmla="*/ 14 w 360"/>
              <a:gd name="T5" fmla="*/ 252 h 276"/>
              <a:gd name="T6" fmla="*/ 14 w 360"/>
              <a:gd name="T7" fmla="*/ 149 h 276"/>
              <a:gd name="T8" fmla="*/ 51 w 360"/>
              <a:gd name="T9" fmla="*/ 43 h 276"/>
              <a:gd name="T10" fmla="*/ 94 w 360"/>
              <a:gd name="T11" fmla="*/ 0 h 276"/>
              <a:gd name="T12" fmla="*/ 268 w 360"/>
              <a:gd name="T13" fmla="*/ 0 h 276"/>
              <a:gd name="T14" fmla="*/ 311 w 360"/>
              <a:gd name="T15" fmla="*/ 43 h 276"/>
              <a:gd name="T16" fmla="*/ 349 w 360"/>
              <a:gd name="T17" fmla="*/ 148 h 276"/>
              <a:gd name="T18" fmla="*/ 77 w 360"/>
              <a:gd name="T19" fmla="*/ 174 h 276"/>
              <a:gd name="T20" fmla="*/ 91 w 360"/>
              <a:gd name="T21" fmla="*/ 160 h 276"/>
              <a:gd name="T22" fmla="*/ 77 w 360"/>
              <a:gd name="T23" fmla="*/ 145 h 276"/>
              <a:gd name="T24" fmla="*/ 63 w 360"/>
              <a:gd name="T25" fmla="*/ 160 h 276"/>
              <a:gd name="T26" fmla="*/ 77 w 360"/>
              <a:gd name="T27" fmla="*/ 174 h 276"/>
              <a:gd name="T28" fmla="*/ 14 w 360"/>
              <a:gd name="T29" fmla="*/ 252 h 276"/>
              <a:gd name="T30" fmla="*/ 14 w 360"/>
              <a:gd name="T31" fmla="*/ 260 h 276"/>
              <a:gd name="T32" fmla="*/ 30 w 360"/>
              <a:gd name="T33" fmla="*/ 276 h 276"/>
              <a:gd name="T34" fmla="*/ 50 w 360"/>
              <a:gd name="T35" fmla="*/ 276 h 276"/>
              <a:gd name="T36" fmla="*/ 67 w 360"/>
              <a:gd name="T37" fmla="*/ 260 h 276"/>
              <a:gd name="T38" fmla="*/ 67 w 360"/>
              <a:gd name="T39" fmla="*/ 252 h 276"/>
              <a:gd name="T40" fmla="*/ 295 w 360"/>
              <a:gd name="T41" fmla="*/ 252 h 276"/>
              <a:gd name="T42" fmla="*/ 295 w 360"/>
              <a:gd name="T43" fmla="*/ 260 h 276"/>
              <a:gd name="T44" fmla="*/ 312 w 360"/>
              <a:gd name="T45" fmla="*/ 276 h 276"/>
              <a:gd name="T46" fmla="*/ 332 w 360"/>
              <a:gd name="T47" fmla="*/ 276 h 276"/>
              <a:gd name="T48" fmla="*/ 349 w 360"/>
              <a:gd name="T49" fmla="*/ 260 h 276"/>
              <a:gd name="T50" fmla="*/ 349 w 360"/>
              <a:gd name="T51" fmla="*/ 252 h 276"/>
              <a:gd name="T52" fmla="*/ 283 w 360"/>
              <a:gd name="T53" fmla="*/ 174 h 276"/>
              <a:gd name="T54" fmla="*/ 297 w 360"/>
              <a:gd name="T55" fmla="*/ 160 h 276"/>
              <a:gd name="T56" fmla="*/ 283 w 360"/>
              <a:gd name="T57" fmla="*/ 145 h 276"/>
              <a:gd name="T58" fmla="*/ 268 w 360"/>
              <a:gd name="T59" fmla="*/ 160 h 276"/>
              <a:gd name="T60" fmla="*/ 283 w 360"/>
              <a:gd name="T61" fmla="*/ 174 h 276"/>
              <a:gd name="T62" fmla="*/ 245 w 360"/>
              <a:gd name="T63" fmla="*/ 252 h 276"/>
              <a:gd name="T64" fmla="*/ 245 w 360"/>
              <a:gd name="T65" fmla="*/ 222 h 276"/>
              <a:gd name="T66" fmla="*/ 229 w 360"/>
              <a:gd name="T67" fmla="*/ 197 h 276"/>
              <a:gd name="T68" fmla="*/ 133 w 360"/>
              <a:gd name="T69" fmla="*/ 197 h 276"/>
              <a:gd name="T70" fmla="*/ 117 w 360"/>
              <a:gd name="T71" fmla="*/ 222 h 276"/>
              <a:gd name="T72" fmla="*/ 117 w 360"/>
              <a:gd name="T73" fmla="*/ 252 h 276"/>
              <a:gd name="T74" fmla="*/ 0 w 360"/>
              <a:gd name="T75" fmla="*/ 75 h 276"/>
              <a:gd name="T76" fmla="*/ 16 w 360"/>
              <a:gd name="T77" fmla="*/ 75 h 276"/>
              <a:gd name="T78" fmla="*/ 32 w 360"/>
              <a:gd name="T79" fmla="*/ 96 h 276"/>
              <a:gd name="T80" fmla="*/ 330 w 360"/>
              <a:gd name="T81" fmla="*/ 96 h 276"/>
              <a:gd name="T82" fmla="*/ 345 w 360"/>
              <a:gd name="T83" fmla="*/ 75 h 276"/>
              <a:gd name="T84" fmla="*/ 360 w 360"/>
              <a:gd name="T85" fmla="*/ 75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60" h="276">
                <a:moveTo>
                  <a:pt x="349" y="148"/>
                </a:moveTo>
                <a:cubicBezTo>
                  <a:pt x="349" y="252"/>
                  <a:pt x="349" y="252"/>
                  <a:pt x="349" y="252"/>
                </a:cubicBezTo>
                <a:cubicBezTo>
                  <a:pt x="14" y="252"/>
                  <a:pt x="14" y="252"/>
                  <a:pt x="14" y="252"/>
                </a:cubicBezTo>
                <a:cubicBezTo>
                  <a:pt x="14" y="149"/>
                  <a:pt x="14" y="149"/>
                  <a:pt x="14" y="149"/>
                </a:cubicBezTo>
                <a:cubicBezTo>
                  <a:pt x="51" y="43"/>
                  <a:pt x="51" y="43"/>
                  <a:pt x="51" y="43"/>
                </a:cubicBezTo>
                <a:cubicBezTo>
                  <a:pt x="59" y="19"/>
                  <a:pt x="70" y="0"/>
                  <a:pt x="94" y="0"/>
                </a:cubicBezTo>
                <a:cubicBezTo>
                  <a:pt x="268" y="0"/>
                  <a:pt x="268" y="0"/>
                  <a:pt x="268" y="0"/>
                </a:cubicBezTo>
                <a:cubicBezTo>
                  <a:pt x="292" y="0"/>
                  <a:pt x="304" y="19"/>
                  <a:pt x="311" y="43"/>
                </a:cubicBezTo>
                <a:lnTo>
                  <a:pt x="349" y="148"/>
                </a:lnTo>
                <a:close/>
                <a:moveTo>
                  <a:pt x="77" y="174"/>
                </a:moveTo>
                <a:cubicBezTo>
                  <a:pt x="85" y="174"/>
                  <a:pt x="91" y="167"/>
                  <a:pt x="91" y="160"/>
                </a:cubicBezTo>
                <a:cubicBezTo>
                  <a:pt x="91" y="152"/>
                  <a:pt x="85" y="145"/>
                  <a:pt x="77" y="145"/>
                </a:cubicBezTo>
                <a:cubicBezTo>
                  <a:pt x="69" y="145"/>
                  <a:pt x="63" y="152"/>
                  <a:pt x="63" y="160"/>
                </a:cubicBezTo>
                <a:cubicBezTo>
                  <a:pt x="63" y="167"/>
                  <a:pt x="69" y="174"/>
                  <a:pt x="77" y="174"/>
                </a:cubicBezTo>
                <a:close/>
                <a:moveTo>
                  <a:pt x="14" y="252"/>
                </a:moveTo>
                <a:cubicBezTo>
                  <a:pt x="14" y="260"/>
                  <a:pt x="14" y="260"/>
                  <a:pt x="14" y="260"/>
                </a:cubicBezTo>
                <a:cubicBezTo>
                  <a:pt x="14" y="269"/>
                  <a:pt x="21" y="276"/>
                  <a:pt x="30" y="276"/>
                </a:cubicBezTo>
                <a:cubicBezTo>
                  <a:pt x="50" y="276"/>
                  <a:pt x="50" y="276"/>
                  <a:pt x="50" y="276"/>
                </a:cubicBezTo>
                <a:cubicBezTo>
                  <a:pt x="59" y="276"/>
                  <a:pt x="67" y="269"/>
                  <a:pt x="67" y="260"/>
                </a:cubicBezTo>
                <a:cubicBezTo>
                  <a:pt x="67" y="252"/>
                  <a:pt x="67" y="252"/>
                  <a:pt x="67" y="252"/>
                </a:cubicBezTo>
                <a:moveTo>
                  <a:pt x="295" y="252"/>
                </a:moveTo>
                <a:cubicBezTo>
                  <a:pt x="295" y="260"/>
                  <a:pt x="295" y="260"/>
                  <a:pt x="295" y="260"/>
                </a:cubicBezTo>
                <a:cubicBezTo>
                  <a:pt x="295" y="269"/>
                  <a:pt x="303" y="276"/>
                  <a:pt x="312" y="276"/>
                </a:cubicBezTo>
                <a:cubicBezTo>
                  <a:pt x="332" y="276"/>
                  <a:pt x="332" y="276"/>
                  <a:pt x="332" y="276"/>
                </a:cubicBezTo>
                <a:cubicBezTo>
                  <a:pt x="341" y="276"/>
                  <a:pt x="349" y="269"/>
                  <a:pt x="349" y="260"/>
                </a:cubicBezTo>
                <a:cubicBezTo>
                  <a:pt x="349" y="252"/>
                  <a:pt x="349" y="252"/>
                  <a:pt x="349" y="252"/>
                </a:cubicBezTo>
                <a:moveTo>
                  <a:pt x="283" y="174"/>
                </a:moveTo>
                <a:cubicBezTo>
                  <a:pt x="290" y="174"/>
                  <a:pt x="297" y="167"/>
                  <a:pt x="297" y="160"/>
                </a:cubicBezTo>
                <a:cubicBezTo>
                  <a:pt x="297" y="152"/>
                  <a:pt x="290" y="145"/>
                  <a:pt x="283" y="145"/>
                </a:cubicBezTo>
                <a:cubicBezTo>
                  <a:pt x="275" y="145"/>
                  <a:pt x="268" y="152"/>
                  <a:pt x="268" y="160"/>
                </a:cubicBezTo>
                <a:cubicBezTo>
                  <a:pt x="268" y="167"/>
                  <a:pt x="275" y="174"/>
                  <a:pt x="283" y="174"/>
                </a:cubicBezTo>
                <a:close/>
                <a:moveTo>
                  <a:pt x="245" y="252"/>
                </a:moveTo>
                <a:cubicBezTo>
                  <a:pt x="245" y="222"/>
                  <a:pt x="245" y="222"/>
                  <a:pt x="245" y="222"/>
                </a:cubicBezTo>
                <a:cubicBezTo>
                  <a:pt x="229" y="197"/>
                  <a:pt x="229" y="197"/>
                  <a:pt x="229" y="197"/>
                </a:cubicBezTo>
                <a:cubicBezTo>
                  <a:pt x="133" y="197"/>
                  <a:pt x="133" y="197"/>
                  <a:pt x="133" y="197"/>
                </a:cubicBezTo>
                <a:cubicBezTo>
                  <a:pt x="117" y="222"/>
                  <a:pt x="117" y="222"/>
                  <a:pt x="117" y="222"/>
                </a:cubicBezTo>
                <a:cubicBezTo>
                  <a:pt x="117" y="252"/>
                  <a:pt x="117" y="252"/>
                  <a:pt x="117" y="252"/>
                </a:cubicBezTo>
                <a:moveTo>
                  <a:pt x="0" y="75"/>
                </a:moveTo>
                <a:cubicBezTo>
                  <a:pt x="16" y="75"/>
                  <a:pt x="16" y="75"/>
                  <a:pt x="16" y="75"/>
                </a:cubicBezTo>
                <a:cubicBezTo>
                  <a:pt x="32" y="96"/>
                  <a:pt x="32" y="96"/>
                  <a:pt x="32" y="96"/>
                </a:cubicBezTo>
                <a:cubicBezTo>
                  <a:pt x="330" y="96"/>
                  <a:pt x="330" y="96"/>
                  <a:pt x="330" y="96"/>
                </a:cubicBezTo>
                <a:cubicBezTo>
                  <a:pt x="345" y="75"/>
                  <a:pt x="345" y="75"/>
                  <a:pt x="345" y="75"/>
                </a:cubicBezTo>
                <a:cubicBezTo>
                  <a:pt x="360" y="75"/>
                  <a:pt x="360" y="75"/>
                  <a:pt x="360" y="75"/>
                </a:cubicBezTo>
              </a:path>
            </a:pathLst>
          </a:custGeom>
          <a:solidFill>
            <a:schemeClr val="bg1"/>
          </a:solidFill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61094" tIns="30547" rIns="61094" bIns="30547" numCol="1" anchor="t" anchorCtr="0" compatLnSpc="1">
            <a:prstTxWarp prst="textNoShape">
              <a:avLst/>
            </a:prstTxWarp>
          </a:bodyPr>
          <a:lstStyle/>
          <a:p>
            <a:pPr defTabSz="623113">
              <a:defRPr/>
            </a:pPr>
            <a:endParaRPr lang="en-US" sz="1961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5530B847-D94C-4C37-880B-A206335A504B}"/>
              </a:ext>
            </a:extLst>
          </p:cNvPr>
          <p:cNvSpPr/>
          <p:nvPr/>
        </p:nvSpPr>
        <p:spPr bwMode="auto">
          <a:xfrm rot="5400000">
            <a:off x="7936165" y="5360409"/>
            <a:ext cx="192535" cy="3059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2" name="eye_2">
            <a:extLst>
              <a:ext uri="{FF2B5EF4-FFF2-40B4-BE49-F238E27FC236}">
                <a16:creationId xmlns:a16="http://schemas.microsoft.com/office/drawing/2014/main" id="{94BC1124-E2ED-4A85-9E7A-4B95DA0BB1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847638" y="5425438"/>
            <a:ext cx="348234" cy="193218"/>
          </a:xfrm>
          <a:custGeom>
            <a:avLst/>
            <a:gdLst>
              <a:gd name="T0" fmla="*/ 5 w 346"/>
              <a:gd name="T1" fmla="*/ 103 h 191"/>
              <a:gd name="T2" fmla="*/ 0 w 346"/>
              <a:gd name="T3" fmla="*/ 96 h 191"/>
              <a:gd name="T4" fmla="*/ 3 w 346"/>
              <a:gd name="T5" fmla="*/ 92 h 191"/>
              <a:gd name="T6" fmla="*/ 5 w 346"/>
              <a:gd name="T7" fmla="*/ 103 h 191"/>
              <a:gd name="T8" fmla="*/ 173 w 346"/>
              <a:gd name="T9" fmla="*/ 191 h 191"/>
              <a:gd name="T10" fmla="*/ 346 w 346"/>
              <a:gd name="T11" fmla="*/ 96 h 191"/>
              <a:gd name="T12" fmla="*/ 173 w 346"/>
              <a:gd name="T13" fmla="*/ 0 h 191"/>
              <a:gd name="T14" fmla="*/ 3 w 346"/>
              <a:gd name="T15" fmla="*/ 92 h 191"/>
              <a:gd name="T16" fmla="*/ 175 w 346"/>
              <a:gd name="T17" fmla="*/ 14 h 191"/>
              <a:gd name="T18" fmla="*/ 89 w 346"/>
              <a:gd name="T19" fmla="*/ 96 h 191"/>
              <a:gd name="T20" fmla="*/ 175 w 346"/>
              <a:gd name="T21" fmla="*/ 178 h 191"/>
              <a:gd name="T22" fmla="*/ 261 w 346"/>
              <a:gd name="T23" fmla="*/ 96 h 191"/>
              <a:gd name="T24" fmla="*/ 175 w 346"/>
              <a:gd name="T25" fmla="*/ 14 h 191"/>
              <a:gd name="T26" fmla="*/ 175 w 346"/>
              <a:gd name="T27" fmla="*/ 78 h 191"/>
              <a:gd name="T28" fmla="*/ 156 w 346"/>
              <a:gd name="T29" fmla="*/ 96 h 191"/>
              <a:gd name="T30" fmla="*/ 175 w 346"/>
              <a:gd name="T31" fmla="*/ 114 h 191"/>
              <a:gd name="T32" fmla="*/ 194 w 346"/>
              <a:gd name="T33" fmla="*/ 96 h 191"/>
              <a:gd name="T34" fmla="*/ 175 w 346"/>
              <a:gd name="T35" fmla="*/ 78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46" h="191">
                <a:moveTo>
                  <a:pt x="5" y="103"/>
                </a:moveTo>
                <a:cubicBezTo>
                  <a:pt x="2" y="98"/>
                  <a:pt x="0" y="96"/>
                  <a:pt x="0" y="96"/>
                </a:cubicBezTo>
                <a:cubicBezTo>
                  <a:pt x="0" y="96"/>
                  <a:pt x="1" y="94"/>
                  <a:pt x="3" y="92"/>
                </a:cubicBezTo>
                <a:moveTo>
                  <a:pt x="5" y="103"/>
                </a:moveTo>
                <a:cubicBezTo>
                  <a:pt x="23" y="125"/>
                  <a:pt x="82" y="191"/>
                  <a:pt x="173" y="191"/>
                </a:cubicBezTo>
                <a:cubicBezTo>
                  <a:pt x="283" y="191"/>
                  <a:pt x="346" y="96"/>
                  <a:pt x="346" y="96"/>
                </a:cubicBezTo>
                <a:cubicBezTo>
                  <a:pt x="346" y="96"/>
                  <a:pt x="283" y="0"/>
                  <a:pt x="173" y="0"/>
                </a:cubicBezTo>
                <a:cubicBezTo>
                  <a:pt x="77" y="0"/>
                  <a:pt x="17" y="73"/>
                  <a:pt x="3" y="92"/>
                </a:cubicBezTo>
                <a:moveTo>
                  <a:pt x="175" y="14"/>
                </a:moveTo>
                <a:cubicBezTo>
                  <a:pt x="128" y="14"/>
                  <a:pt x="89" y="50"/>
                  <a:pt x="89" y="96"/>
                </a:cubicBezTo>
                <a:cubicBezTo>
                  <a:pt x="89" y="141"/>
                  <a:pt x="128" y="178"/>
                  <a:pt x="175" y="178"/>
                </a:cubicBezTo>
                <a:cubicBezTo>
                  <a:pt x="222" y="178"/>
                  <a:pt x="261" y="141"/>
                  <a:pt x="261" y="96"/>
                </a:cubicBezTo>
                <a:cubicBezTo>
                  <a:pt x="261" y="50"/>
                  <a:pt x="222" y="14"/>
                  <a:pt x="175" y="14"/>
                </a:cubicBezTo>
                <a:close/>
                <a:moveTo>
                  <a:pt x="175" y="78"/>
                </a:moveTo>
                <a:cubicBezTo>
                  <a:pt x="165" y="78"/>
                  <a:pt x="156" y="86"/>
                  <a:pt x="156" y="96"/>
                </a:cubicBezTo>
                <a:cubicBezTo>
                  <a:pt x="156" y="106"/>
                  <a:pt x="165" y="114"/>
                  <a:pt x="175" y="114"/>
                </a:cubicBezTo>
                <a:cubicBezTo>
                  <a:pt x="185" y="114"/>
                  <a:pt x="194" y="106"/>
                  <a:pt x="194" y="96"/>
                </a:cubicBezTo>
                <a:cubicBezTo>
                  <a:pt x="194" y="86"/>
                  <a:pt x="185" y="78"/>
                  <a:pt x="175" y="78"/>
                </a:cubicBezTo>
                <a:close/>
              </a:path>
            </a:pathLst>
          </a:custGeom>
          <a:solidFill>
            <a:schemeClr val="bg1"/>
          </a:solidFill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61094" tIns="30547" rIns="61094" bIns="30547" numCol="1" anchor="t" anchorCtr="0" compatLnSpc="1">
            <a:prstTxWarp prst="textNoShape">
              <a:avLst/>
            </a:prstTxWarp>
          </a:bodyPr>
          <a:lstStyle/>
          <a:p>
            <a:pPr defTabSz="623113">
              <a:defRPr/>
            </a:pPr>
            <a:endParaRPr lang="en-US" sz="1568">
              <a:solidFill>
                <a:srgbClr val="505050"/>
              </a:solidFill>
              <a:latin typeface="Segoe UI Semilight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ECFE573A-133F-4D96-B37F-A3313A1262A8}"/>
              </a:ext>
            </a:extLst>
          </p:cNvPr>
          <p:cNvSpPr/>
          <p:nvPr/>
        </p:nvSpPr>
        <p:spPr bwMode="auto">
          <a:xfrm>
            <a:off x="8583635" y="5154552"/>
            <a:ext cx="353189" cy="69576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24" name="Group 4">
            <a:extLst>
              <a:ext uri="{FF2B5EF4-FFF2-40B4-BE49-F238E27FC236}">
                <a16:creationId xmlns:a16="http://schemas.microsoft.com/office/drawing/2014/main" id="{80FA4B23-D35E-41B0-BDBB-0B1C974905E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31015" y="5321295"/>
            <a:ext cx="408610" cy="251450"/>
            <a:chOff x="5597" y="3096"/>
            <a:chExt cx="546" cy="336"/>
          </a:xfrm>
          <a:solidFill>
            <a:schemeClr val="bg1"/>
          </a:solidFill>
        </p:grpSpPr>
        <p:sp>
          <p:nvSpPr>
            <p:cNvPr id="125" name="Rectangle 5">
              <a:extLst>
                <a:ext uri="{FF2B5EF4-FFF2-40B4-BE49-F238E27FC236}">
                  <a16:creationId xmlns:a16="http://schemas.microsoft.com/office/drawing/2014/main" id="{61C20E71-D359-4B99-AA47-CFD0BF5E83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7" y="3096"/>
              <a:ext cx="169" cy="336"/>
            </a:xfrm>
            <a:prstGeom prst="rect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26" name="Freeform 6">
              <a:extLst>
                <a:ext uri="{FF2B5EF4-FFF2-40B4-BE49-F238E27FC236}">
                  <a16:creationId xmlns:a16="http://schemas.microsoft.com/office/drawing/2014/main" id="{AF2E9635-6C53-4320-AE04-8451DBB74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6" y="3337"/>
              <a:ext cx="80" cy="95"/>
            </a:xfrm>
            <a:custGeom>
              <a:avLst/>
              <a:gdLst>
                <a:gd name="T0" fmla="*/ 80 w 80"/>
                <a:gd name="T1" fmla="*/ 0 h 95"/>
                <a:gd name="T2" fmla="*/ 80 w 80"/>
                <a:gd name="T3" fmla="*/ 26 h 95"/>
                <a:gd name="T4" fmla="*/ 0 w 80"/>
                <a:gd name="T5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95">
                  <a:moveTo>
                    <a:pt x="80" y="0"/>
                  </a:moveTo>
                  <a:lnTo>
                    <a:pt x="80" y="26"/>
                  </a:lnTo>
                  <a:lnTo>
                    <a:pt x="0" y="95"/>
                  </a:ln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27" name="Freeform 7">
              <a:extLst>
                <a:ext uri="{FF2B5EF4-FFF2-40B4-BE49-F238E27FC236}">
                  <a16:creationId xmlns:a16="http://schemas.microsoft.com/office/drawing/2014/main" id="{812384B7-F36B-4B30-84ED-05DC68ED5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6" y="3096"/>
              <a:ext cx="80" cy="96"/>
            </a:xfrm>
            <a:custGeom>
              <a:avLst/>
              <a:gdLst>
                <a:gd name="T0" fmla="*/ 0 w 80"/>
                <a:gd name="T1" fmla="*/ 0 h 96"/>
                <a:gd name="T2" fmla="*/ 80 w 80"/>
                <a:gd name="T3" fmla="*/ 74 h 96"/>
                <a:gd name="T4" fmla="*/ 80 w 80"/>
                <a:gd name="T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96">
                  <a:moveTo>
                    <a:pt x="0" y="0"/>
                  </a:moveTo>
                  <a:lnTo>
                    <a:pt x="80" y="74"/>
                  </a:lnTo>
                  <a:lnTo>
                    <a:pt x="80" y="96"/>
                  </a:ln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28" name="Line 8">
              <a:extLst>
                <a:ext uri="{FF2B5EF4-FFF2-40B4-BE49-F238E27FC236}">
                  <a16:creationId xmlns:a16="http://schemas.microsoft.com/office/drawing/2014/main" id="{85EC08C8-19CA-4743-8BEA-C8D4700969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7" y="3205"/>
              <a:ext cx="169" cy="0"/>
            </a:xfrm>
            <a:prstGeom prst="line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0" name="Line 9">
              <a:extLst>
                <a:ext uri="{FF2B5EF4-FFF2-40B4-BE49-F238E27FC236}">
                  <a16:creationId xmlns:a16="http://schemas.microsoft.com/office/drawing/2014/main" id="{7F8E9AC1-1530-46B8-9BFE-53DD9CE3B2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7" y="3325"/>
              <a:ext cx="169" cy="0"/>
            </a:xfrm>
            <a:prstGeom prst="line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1" name="Rectangle 10">
              <a:extLst>
                <a:ext uri="{FF2B5EF4-FFF2-40B4-BE49-F238E27FC236}">
                  <a16:creationId xmlns:a16="http://schemas.microsoft.com/office/drawing/2014/main" id="{5B4FFE70-B69C-4FA4-92DF-4BD631F69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4" y="3096"/>
              <a:ext cx="169" cy="336"/>
            </a:xfrm>
            <a:prstGeom prst="rect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2" name="Freeform 11">
              <a:extLst>
                <a:ext uri="{FF2B5EF4-FFF2-40B4-BE49-F238E27FC236}">
                  <a16:creationId xmlns:a16="http://schemas.microsoft.com/office/drawing/2014/main" id="{4FD5FE06-B777-4145-83CB-053DAF678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" y="3336"/>
              <a:ext cx="80" cy="96"/>
            </a:xfrm>
            <a:custGeom>
              <a:avLst/>
              <a:gdLst>
                <a:gd name="T0" fmla="*/ 0 w 80"/>
                <a:gd name="T1" fmla="*/ 0 h 96"/>
                <a:gd name="T2" fmla="*/ 0 w 80"/>
                <a:gd name="T3" fmla="*/ 27 h 96"/>
                <a:gd name="T4" fmla="*/ 80 w 80"/>
                <a:gd name="T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96">
                  <a:moveTo>
                    <a:pt x="0" y="0"/>
                  </a:moveTo>
                  <a:lnTo>
                    <a:pt x="0" y="27"/>
                  </a:lnTo>
                  <a:lnTo>
                    <a:pt x="80" y="96"/>
                  </a:ln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3" name="Freeform 12">
              <a:extLst>
                <a:ext uri="{FF2B5EF4-FFF2-40B4-BE49-F238E27FC236}">
                  <a16:creationId xmlns:a16="http://schemas.microsoft.com/office/drawing/2014/main" id="{A226DFF3-FD1A-44ED-9F20-D9952C952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" y="3096"/>
              <a:ext cx="80" cy="94"/>
            </a:xfrm>
            <a:custGeom>
              <a:avLst/>
              <a:gdLst>
                <a:gd name="T0" fmla="*/ 80 w 80"/>
                <a:gd name="T1" fmla="*/ 0 h 94"/>
                <a:gd name="T2" fmla="*/ 0 w 80"/>
                <a:gd name="T3" fmla="*/ 74 h 94"/>
                <a:gd name="T4" fmla="*/ 0 w 80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94">
                  <a:moveTo>
                    <a:pt x="80" y="0"/>
                  </a:moveTo>
                  <a:lnTo>
                    <a:pt x="0" y="74"/>
                  </a:lnTo>
                  <a:lnTo>
                    <a:pt x="0" y="94"/>
                  </a:ln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6" name="Line 13">
              <a:extLst>
                <a:ext uri="{FF2B5EF4-FFF2-40B4-BE49-F238E27FC236}">
                  <a16:creationId xmlns:a16="http://schemas.microsoft.com/office/drawing/2014/main" id="{08758C86-6EA6-4239-B5EF-5D5C069DB8D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74" y="3205"/>
              <a:ext cx="169" cy="0"/>
            </a:xfrm>
            <a:prstGeom prst="line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7" name="Line 14">
              <a:extLst>
                <a:ext uri="{FF2B5EF4-FFF2-40B4-BE49-F238E27FC236}">
                  <a16:creationId xmlns:a16="http://schemas.microsoft.com/office/drawing/2014/main" id="{29FB7082-9A28-44A0-9AB0-C781ABC1D1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74" y="3325"/>
              <a:ext cx="169" cy="0"/>
            </a:xfrm>
            <a:prstGeom prst="line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8" name="Freeform 15">
              <a:extLst>
                <a:ext uri="{FF2B5EF4-FFF2-40B4-BE49-F238E27FC236}">
                  <a16:creationId xmlns:a16="http://schemas.microsoft.com/office/drawing/2014/main" id="{CF30A191-6563-4A47-B38D-F892AA6EEE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7" y="3207"/>
              <a:ext cx="146" cy="47"/>
            </a:xfrm>
            <a:custGeom>
              <a:avLst/>
              <a:gdLst>
                <a:gd name="T0" fmla="*/ 0 w 196"/>
                <a:gd name="T1" fmla="*/ 0 h 63"/>
                <a:gd name="T2" fmla="*/ 0 w 196"/>
                <a:gd name="T3" fmla="*/ 63 h 63"/>
                <a:gd name="T4" fmla="*/ 118 w 196"/>
                <a:gd name="T5" fmla="*/ 0 h 63"/>
                <a:gd name="T6" fmla="*/ 118 w 196"/>
                <a:gd name="T7" fmla="*/ 63 h 63"/>
                <a:gd name="T8" fmla="*/ 79 w 196"/>
                <a:gd name="T9" fmla="*/ 42 h 63"/>
                <a:gd name="T10" fmla="*/ 79 w 196"/>
                <a:gd name="T11" fmla="*/ 20 h 63"/>
                <a:gd name="T12" fmla="*/ 59 w 196"/>
                <a:gd name="T13" fmla="*/ 0 h 63"/>
                <a:gd name="T14" fmla="*/ 59 w 196"/>
                <a:gd name="T15" fmla="*/ 0 h 63"/>
                <a:gd name="T16" fmla="*/ 38 w 196"/>
                <a:gd name="T17" fmla="*/ 20 h 63"/>
                <a:gd name="T18" fmla="*/ 38 w 196"/>
                <a:gd name="T19" fmla="*/ 42 h 63"/>
                <a:gd name="T20" fmla="*/ 59 w 196"/>
                <a:gd name="T21" fmla="*/ 63 h 63"/>
                <a:gd name="T22" fmla="*/ 59 w 196"/>
                <a:gd name="T23" fmla="*/ 63 h 63"/>
                <a:gd name="T24" fmla="*/ 79 w 196"/>
                <a:gd name="T25" fmla="*/ 42 h 63"/>
                <a:gd name="T26" fmla="*/ 196 w 196"/>
                <a:gd name="T27" fmla="*/ 42 h 63"/>
                <a:gd name="T28" fmla="*/ 196 w 196"/>
                <a:gd name="T29" fmla="*/ 20 h 63"/>
                <a:gd name="T30" fmla="*/ 175 w 196"/>
                <a:gd name="T31" fmla="*/ 0 h 63"/>
                <a:gd name="T32" fmla="*/ 175 w 196"/>
                <a:gd name="T33" fmla="*/ 0 h 63"/>
                <a:gd name="T34" fmla="*/ 156 w 196"/>
                <a:gd name="T35" fmla="*/ 20 h 63"/>
                <a:gd name="T36" fmla="*/ 156 w 196"/>
                <a:gd name="T37" fmla="*/ 42 h 63"/>
                <a:gd name="T38" fmla="*/ 175 w 196"/>
                <a:gd name="T39" fmla="*/ 63 h 63"/>
                <a:gd name="T40" fmla="*/ 175 w 196"/>
                <a:gd name="T41" fmla="*/ 63 h 63"/>
                <a:gd name="T42" fmla="*/ 196 w 196"/>
                <a:gd name="T43" fmla="*/ 4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63">
                  <a:moveTo>
                    <a:pt x="0" y="0"/>
                  </a:moveTo>
                  <a:cubicBezTo>
                    <a:pt x="0" y="63"/>
                    <a:pt x="0" y="63"/>
                    <a:pt x="0" y="63"/>
                  </a:cubicBezTo>
                  <a:moveTo>
                    <a:pt x="118" y="0"/>
                  </a:moveTo>
                  <a:cubicBezTo>
                    <a:pt x="118" y="63"/>
                    <a:pt x="118" y="63"/>
                    <a:pt x="118" y="63"/>
                  </a:cubicBezTo>
                  <a:moveTo>
                    <a:pt x="79" y="42"/>
                  </a:moveTo>
                  <a:cubicBezTo>
                    <a:pt x="79" y="20"/>
                    <a:pt x="79" y="20"/>
                    <a:pt x="79" y="20"/>
                  </a:cubicBezTo>
                  <a:cubicBezTo>
                    <a:pt x="79" y="9"/>
                    <a:pt x="70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47" y="0"/>
                    <a:pt x="38" y="9"/>
                    <a:pt x="38" y="2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54"/>
                    <a:pt x="47" y="63"/>
                    <a:pt x="59" y="63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70" y="63"/>
                    <a:pt x="79" y="54"/>
                    <a:pt x="79" y="42"/>
                  </a:cubicBezTo>
                  <a:close/>
                  <a:moveTo>
                    <a:pt x="196" y="42"/>
                  </a:moveTo>
                  <a:cubicBezTo>
                    <a:pt x="196" y="20"/>
                    <a:pt x="196" y="20"/>
                    <a:pt x="196" y="20"/>
                  </a:cubicBezTo>
                  <a:cubicBezTo>
                    <a:pt x="196" y="9"/>
                    <a:pt x="187" y="0"/>
                    <a:pt x="175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65" y="0"/>
                    <a:pt x="156" y="9"/>
                    <a:pt x="156" y="20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54"/>
                    <a:pt x="165" y="63"/>
                    <a:pt x="175" y="63"/>
                  </a:cubicBezTo>
                  <a:cubicBezTo>
                    <a:pt x="175" y="63"/>
                    <a:pt x="175" y="63"/>
                    <a:pt x="175" y="63"/>
                  </a:cubicBezTo>
                  <a:cubicBezTo>
                    <a:pt x="187" y="63"/>
                    <a:pt x="196" y="54"/>
                    <a:pt x="196" y="42"/>
                  </a:cubicBezTo>
                  <a:close/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9" name="Freeform 16">
              <a:extLst>
                <a:ext uri="{FF2B5EF4-FFF2-40B4-BE49-F238E27FC236}">
                  <a16:creationId xmlns:a16="http://schemas.microsoft.com/office/drawing/2014/main" id="{554FD5C6-C238-48DB-9FBA-1D75C8DC5A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7" y="3278"/>
              <a:ext cx="146" cy="48"/>
            </a:xfrm>
            <a:custGeom>
              <a:avLst/>
              <a:gdLst>
                <a:gd name="T0" fmla="*/ 196 w 196"/>
                <a:gd name="T1" fmla="*/ 64 h 64"/>
                <a:gd name="T2" fmla="*/ 196 w 196"/>
                <a:gd name="T3" fmla="*/ 0 h 64"/>
                <a:gd name="T4" fmla="*/ 79 w 196"/>
                <a:gd name="T5" fmla="*/ 64 h 64"/>
                <a:gd name="T6" fmla="*/ 79 w 196"/>
                <a:gd name="T7" fmla="*/ 0 h 64"/>
                <a:gd name="T8" fmla="*/ 118 w 196"/>
                <a:gd name="T9" fmla="*/ 43 h 64"/>
                <a:gd name="T10" fmla="*/ 138 w 196"/>
                <a:gd name="T11" fmla="*/ 64 h 64"/>
                <a:gd name="T12" fmla="*/ 138 w 196"/>
                <a:gd name="T13" fmla="*/ 64 h 64"/>
                <a:gd name="T14" fmla="*/ 158 w 196"/>
                <a:gd name="T15" fmla="*/ 43 h 64"/>
                <a:gd name="T16" fmla="*/ 158 w 196"/>
                <a:gd name="T17" fmla="*/ 21 h 64"/>
                <a:gd name="T18" fmla="*/ 138 w 196"/>
                <a:gd name="T19" fmla="*/ 0 h 64"/>
                <a:gd name="T20" fmla="*/ 138 w 196"/>
                <a:gd name="T21" fmla="*/ 0 h 64"/>
                <a:gd name="T22" fmla="*/ 118 w 196"/>
                <a:gd name="T23" fmla="*/ 21 h 64"/>
                <a:gd name="T24" fmla="*/ 118 w 196"/>
                <a:gd name="T25" fmla="*/ 43 h 64"/>
                <a:gd name="T26" fmla="*/ 0 w 196"/>
                <a:gd name="T27" fmla="*/ 43 h 64"/>
                <a:gd name="T28" fmla="*/ 20 w 196"/>
                <a:gd name="T29" fmla="*/ 64 h 64"/>
                <a:gd name="T30" fmla="*/ 20 w 196"/>
                <a:gd name="T31" fmla="*/ 64 h 64"/>
                <a:gd name="T32" fmla="*/ 41 w 196"/>
                <a:gd name="T33" fmla="*/ 43 h 64"/>
                <a:gd name="T34" fmla="*/ 41 w 196"/>
                <a:gd name="T35" fmla="*/ 21 h 64"/>
                <a:gd name="T36" fmla="*/ 20 w 196"/>
                <a:gd name="T37" fmla="*/ 0 h 64"/>
                <a:gd name="T38" fmla="*/ 20 w 196"/>
                <a:gd name="T39" fmla="*/ 0 h 64"/>
                <a:gd name="T40" fmla="*/ 0 w 196"/>
                <a:gd name="T41" fmla="*/ 21 h 64"/>
                <a:gd name="T42" fmla="*/ 0 w 196"/>
                <a:gd name="T43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64">
                  <a:moveTo>
                    <a:pt x="196" y="64"/>
                  </a:moveTo>
                  <a:cubicBezTo>
                    <a:pt x="196" y="64"/>
                    <a:pt x="196" y="64"/>
                    <a:pt x="196" y="0"/>
                  </a:cubicBezTo>
                  <a:moveTo>
                    <a:pt x="79" y="64"/>
                  </a:moveTo>
                  <a:cubicBezTo>
                    <a:pt x="79" y="64"/>
                    <a:pt x="79" y="64"/>
                    <a:pt x="79" y="0"/>
                  </a:cubicBezTo>
                  <a:moveTo>
                    <a:pt x="118" y="43"/>
                  </a:moveTo>
                  <a:cubicBezTo>
                    <a:pt x="118" y="54"/>
                    <a:pt x="127" y="64"/>
                    <a:pt x="138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9" y="64"/>
                    <a:pt x="158" y="54"/>
                    <a:pt x="158" y="43"/>
                  </a:cubicBezTo>
                  <a:cubicBezTo>
                    <a:pt x="158" y="43"/>
                    <a:pt x="158" y="43"/>
                    <a:pt x="158" y="21"/>
                  </a:cubicBezTo>
                  <a:cubicBezTo>
                    <a:pt x="158" y="9"/>
                    <a:pt x="149" y="0"/>
                    <a:pt x="138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27" y="0"/>
                    <a:pt x="118" y="9"/>
                    <a:pt x="118" y="21"/>
                  </a:cubicBezTo>
                  <a:cubicBezTo>
                    <a:pt x="118" y="21"/>
                    <a:pt x="118" y="21"/>
                    <a:pt x="118" y="43"/>
                  </a:cubicBezTo>
                  <a:close/>
                  <a:moveTo>
                    <a:pt x="0" y="43"/>
                  </a:moveTo>
                  <a:cubicBezTo>
                    <a:pt x="0" y="54"/>
                    <a:pt x="10" y="64"/>
                    <a:pt x="20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32" y="64"/>
                    <a:pt x="41" y="54"/>
                    <a:pt x="41" y="43"/>
                  </a:cubicBezTo>
                  <a:cubicBezTo>
                    <a:pt x="41" y="43"/>
                    <a:pt x="41" y="43"/>
                    <a:pt x="41" y="21"/>
                  </a:cubicBezTo>
                  <a:cubicBezTo>
                    <a:pt x="41" y="9"/>
                    <a:pt x="32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21"/>
                    <a:pt x="0" y="21"/>
                    <a:pt x="0" y="43"/>
                  </a:cubicBezTo>
                  <a:close/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913391E3-A0CE-4E12-9BBE-4FA39631862F}"/>
              </a:ext>
            </a:extLst>
          </p:cNvPr>
          <p:cNvSpPr txBox="1"/>
          <p:nvPr/>
        </p:nvSpPr>
        <p:spPr>
          <a:xfrm>
            <a:off x="2532198" y="1845174"/>
            <a:ext cx="1656223" cy="301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225">
              <a:defRPr/>
            </a:pPr>
            <a:r>
              <a:rPr lang="en-US" sz="1961" dirty="0">
                <a:solidFill>
                  <a:srgbClr val="D83B01"/>
                </a:solidFill>
                <a:latin typeface="Segoe UI Semibold"/>
              </a:rPr>
              <a:t>Train &amp; deploy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3E8C8342-BDED-4E72-B211-A2228B1063BB}"/>
              </a:ext>
            </a:extLst>
          </p:cNvPr>
          <p:cNvSpPr txBox="1"/>
          <p:nvPr/>
        </p:nvSpPr>
        <p:spPr>
          <a:xfrm>
            <a:off x="8142978" y="1870914"/>
            <a:ext cx="1656223" cy="301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225">
              <a:defRPr/>
            </a:pPr>
            <a:r>
              <a:rPr lang="en-US" sz="1961" dirty="0">
                <a:solidFill>
                  <a:srgbClr val="D83B01"/>
                </a:solidFill>
                <a:latin typeface="Segoe UI Semibold"/>
              </a:rPr>
              <a:t>Train &amp; deploy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4AE157CB-27E7-474C-8616-4753E6B81D33}"/>
              </a:ext>
            </a:extLst>
          </p:cNvPr>
          <p:cNvSpPr txBox="1"/>
          <p:nvPr/>
        </p:nvSpPr>
        <p:spPr>
          <a:xfrm>
            <a:off x="5817494" y="5800606"/>
            <a:ext cx="811120" cy="301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225">
              <a:defRPr/>
            </a:pPr>
            <a:r>
              <a:rPr lang="en-US" sz="1961" dirty="0">
                <a:solidFill>
                  <a:srgbClr val="D83B01"/>
                </a:solidFill>
                <a:latin typeface="Segoe UI Semibold"/>
              </a:rPr>
              <a:t>Deplo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B6EBC05-266C-4EEA-B2B2-4031B45AC084}"/>
              </a:ext>
            </a:extLst>
          </p:cNvPr>
          <p:cNvSpPr/>
          <p:nvPr/>
        </p:nvSpPr>
        <p:spPr>
          <a:xfrm>
            <a:off x="4017061" y="3374012"/>
            <a:ext cx="4157878" cy="1176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25">
              <a:defRPr/>
            </a:pPr>
            <a:r>
              <a:rPr lang="en-US" sz="2353">
                <a:solidFill>
                  <a:srgbClr val="000000"/>
                </a:solidFill>
                <a:latin typeface="Segoe UI" panose="020B0502040204020203" pitchFamily="34" charset="0"/>
              </a:rPr>
              <a:t>Track models in production</a:t>
            </a:r>
          </a:p>
          <a:p>
            <a:pPr algn="ctr" defTabSz="914225">
              <a:defRPr/>
            </a:pPr>
            <a:r>
              <a:rPr lang="en-US" sz="2353">
                <a:solidFill>
                  <a:srgbClr val="000000"/>
                </a:solidFill>
                <a:latin typeface="Segoe UI" panose="020B0502040204020203" pitchFamily="34" charset="0"/>
              </a:rPr>
              <a:t>Capture model telemetry</a:t>
            </a:r>
          </a:p>
          <a:p>
            <a:pPr algn="ctr" defTabSz="914225">
              <a:defRPr/>
            </a:pPr>
            <a:r>
              <a:rPr lang="en-US" sz="2353">
                <a:solidFill>
                  <a:srgbClr val="000000"/>
                </a:solidFill>
                <a:latin typeface="Segoe UI" panose="020B0502040204020203" pitchFamily="34" charset="0"/>
              </a:rPr>
              <a:t>Retrain models automatically</a:t>
            </a:r>
          </a:p>
        </p:txBody>
      </p:sp>
      <p:sp>
        <p:nvSpPr>
          <p:cNvPr id="79" name="Freeform 25">
            <a:extLst>
              <a:ext uri="{FF2B5EF4-FFF2-40B4-BE49-F238E27FC236}">
                <a16:creationId xmlns:a16="http://schemas.microsoft.com/office/drawing/2014/main" id="{743B18A2-AAB9-47D2-9F57-E18F73956767}"/>
              </a:ext>
            </a:extLst>
          </p:cNvPr>
          <p:cNvSpPr>
            <a:spLocks noEditPoints="1"/>
          </p:cNvSpPr>
          <p:nvPr/>
        </p:nvSpPr>
        <p:spPr bwMode="auto">
          <a:xfrm>
            <a:off x="6036209" y="5291815"/>
            <a:ext cx="373690" cy="365117"/>
          </a:xfrm>
          <a:custGeom>
            <a:avLst/>
            <a:gdLst>
              <a:gd name="T0" fmla="*/ 3549 w 3875"/>
              <a:gd name="T1" fmla="*/ 2212 h 3788"/>
              <a:gd name="T2" fmla="*/ 3875 w 3875"/>
              <a:gd name="T3" fmla="*/ 2538 h 3788"/>
              <a:gd name="T4" fmla="*/ 3875 w 3875"/>
              <a:gd name="T5" fmla="*/ 2913 h 3788"/>
              <a:gd name="T6" fmla="*/ 3195 w 3875"/>
              <a:gd name="T7" fmla="*/ 2218 h 3788"/>
              <a:gd name="T8" fmla="*/ 2875 w 3875"/>
              <a:gd name="T9" fmla="*/ 2538 h 3788"/>
              <a:gd name="T10" fmla="*/ 2875 w 3875"/>
              <a:gd name="T11" fmla="*/ 2913 h 3788"/>
              <a:gd name="T12" fmla="*/ 1000 w 3875"/>
              <a:gd name="T13" fmla="*/ 1413 h 3788"/>
              <a:gd name="T14" fmla="*/ 375 w 3875"/>
              <a:gd name="T15" fmla="*/ 2038 h 3788"/>
              <a:gd name="T16" fmla="*/ 375 w 3875"/>
              <a:gd name="T17" fmla="*/ 3788 h 3788"/>
              <a:gd name="T18" fmla="*/ 1625 w 3875"/>
              <a:gd name="T19" fmla="*/ 3788 h 3788"/>
              <a:gd name="T20" fmla="*/ 1625 w 3875"/>
              <a:gd name="T21" fmla="*/ 2038 h 3788"/>
              <a:gd name="T22" fmla="*/ 1000 w 3875"/>
              <a:gd name="T23" fmla="*/ 1413 h 3788"/>
              <a:gd name="T24" fmla="*/ 0 w 3875"/>
              <a:gd name="T25" fmla="*/ 3788 h 3788"/>
              <a:gd name="T26" fmla="*/ 2000 w 3875"/>
              <a:gd name="T27" fmla="*/ 3788 h 3788"/>
              <a:gd name="T28" fmla="*/ 1000 w 3875"/>
              <a:gd name="T29" fmla="*/ 2038 h 3788"/>
              <a:gd name="T30" fmla="*/ 875 w 3875"/>
              <a:gd name="T31" fmla="*/ 2163 h 3788"/>
              <a:gd name="T32" fmla="*/ 1000 w 3875"/>
              <a:gd name="T33" fmla="*/ 2288 h 3788"/>
              <a:gd name="T34" fmla="*/ 1125 w 3875"/>
              <a:gd name="T35" fmla="*/ 2163 h 3788"/>
              <a:gd name="T36" fmla="*/ 1000 w 3875"/>
              <a:gd name="T37" fmla="*/ 2038 h 3788"/>
              <a:gd name="T38" fmla="*/ 3054 w 3875"/>
              <a:gd name="T39" fmla="*/ 1920 h 3788"/>
              <a:gd name="T40" fmla="*/ 3518 w 3875"/>
              <a:gd name="T41" fmla="*/ 1722 h 3788"/>
              <a:gd name="T42" fmla="*/ 1604 w 3875"/>
              <a:gd name="T43" fmla="*/ 1875 h 3788"/>
              <a:gd name="T44" fmla="*/ 2769 w 3875"/>
              <a:gd name="T45" fmla="*/ 674 h 3788"/>
              <a:gd name="T46" fmla="*/ 2761 w 3875"/>
              <a:gd name="T47" fmla="*/ 144 h 3788"/>
              <a:gd name="T48" fmla="*/ 2231 w 3875"/>
              <a:gd name="T49" fmla="*/ 152 h 3788"/>
              <a:gd name="T50" fmla="*/ 1007 w 3875"/>
              <a:gd name="T51" fmla="*/ 1413 h 3788"/>
              <a:gd name="T52" fmla="*/ 3141 w 3875"/>
              <a:gd name="T53" fmla="*/ 2139 h 3788"/>
              <a:gd name="T54" fmla="*/ 3508 w 3875"/>
              <a:gd name="T55" fmla="*/ 2246 h 3788"/>
              <a:gd name="T56" fmla="*/ 3592 w 3875"/>
              <a:gd name="T57" fmla="*/ 1924 h 3788"/>
              <a:gd name="T58" fmla="*/ 2846 w 3875"/>
              <a:gd name="T59" fmla="*/ 268 h 3788"/>
              <a:gd name="T60" fmla="*/ 3141 w 3875"/>
              <a:gd name="T61" fmla="*/ 2139 h 3788"/>
              <a:gd name="T62" fmla="*/ 2575 w 3875"/>
              <a:gd name="T63" fmla="*/ 874 h 3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75" h="3788">
                <a:moveTo>
                  <a:pt x="3549" y="2212"/>
                </a:moveTo>
                <a:cubicBezTo>
                  <a:pt x="3875" y="2538"/>
                  <a:pt x="3875" y="2538"/>
                  <a:pt x="3875" y="2538"/>
                </a:cubicBezTo>
                <a:cubicBezTo>
                  <a:pt x="3875" y="2913"/>
                  <a:pt x="3875" y="2913"/>
                  <a:pt x="3875" y="2913"/>
                </a:cubicBezTo>
                <a:moveTo>
                  <a:pt x="3195" y="2218"/>
                </a:moveTo>
                <a:cubicBezTo>
                  <a:pt x="2875" y="2538"/>
                  <a:pt x="2875" y="2538"/>
                  <a:pt x="2875" y="2538"/>
                </a:cubicBezTo>
                <a:cubicBezTo>
                  <a:pt x="2875" y="2913"/>
                  <a:pt x="2875" y="2913"/>
                  <a:pt x="2875" y="2913"/>
                </a:cubicBezTo>
                <a:moveTo>
                  <a:pt x="1000" y="1413"/>
                </a:moveTo>
                <a:cubicBezTo>
                  <a:pt x="655" y="1413"/>
                  <a:pt x="375" y="1693"/>
                  <a:pt x="375" y="2038"/>
                </a:cubicBezTo>
                <a:cubicBezTo>
                  <a:pt x="375" y="3788"/>
                  <a:pt x="375" y="3788"/>
                  <a:pt x="375" y="3788"/>
                </a:cubicBezTo>
                <a:cubicBezTo>
                  <a:pt x="1625" y="3788"/>
                  <a:pt x="1625" y="3788"/>
                  <a:pt x="1625" y="3788"/>
                </a:cubicBezTo>
                <a:cubicBezTo>
                  <a:pt x="1625" y="2038"/>
                  <a:pt x="1625" y="2038"/>
                  <a:pt x="1625" y="2038"/>
                </a:cubicBezTo>
                <a:cubicBezTo>
                  <a:pt x="1625" y="1693"/>
                  <a:pt x="1345" y="1413"/>
                  <a:pt x="1000" y="1413"/>
                </a:cubicBezTo>
                <a:close/>
                <a:moveTo>
                  <a:pt x="0" y="3788"/>
                </a:moveTo>
                <a:cubicBezTo>
                  <a:pt x="2000" y="3788"/>
                  <a:pt x="2000" y="3788"/>
                  <a:pt x="2000" y="3788"/>
                </a:cubicBezTo>
                <a:moveTo>
                  <a:pt x="1000" y="2038"/>
                </a:moveTo>
                <a:cubicBezTo>
                  <a:pt x="931" y="2038"/>
                  <a:pt x="875" y="2094"/>
                  <a:pt x="875" y="2163"/>
                </a:cubicBezTo>
                <a:cubicBezTo>
                  <a:pt x="875" y="2232"/>
                  <a:pt x="931" y="2288"/>
                  <a:pt x="1000" y="2288"/>
                </a:cubicBezTo>
                <a:cubicBezTo>
                  <a:pt x="1069" y="2288"/>
                  <a:pt x="1125" y="2232"/>
                  <a:pt x="1125" y="2163"/>
                </a:cubicBezTo>
                <a:cubicBezTo>
                  <a:pt x="1125" y="2094"/>
                  <a:pt x="1069" y="2038"/>
                  <a:pt x="1000" y="2038"/>
                </a:cubicBezTo>
                <a:close/>
                <a:moveTo>
                  <a:pt x="3054" y="1920"/>
                </a:moveTo>
                <a:cubicBezTo>
                  <a:pt x="3518" y="1722"/>
                  <a:pt x="3518" y="1722"/>
                  <a:pt x="3518" y="1722"/>
                </a:cubicBezTo>
                <a:moveTo>
                  <a:pt x="1604" y="1875"/>
                </a:moveTo>
                <a:cubicBezTo>
                  <a:pt x="2769" y="674"/>
                  <a:pt x="2769" y="674"/>
                  <a:pt x="2769" y="674"/>
                </a:cubicBezTo>
                <a:cubicBezTo>
                  <a:pt x="2913" y="526"/>
                  <a:pt x="2910" y="288"/>
                  <a:pt x="2761" y="144"/>
                </a:cubicBezTo>
                <a:cubicBezTo>
                  <a:pt x="2613" y="0"/>
                  <a:pt x="2375" y="3"/>
                  <a:pt x="2231" y="152"/>
                </a:cubicBezTo>
                <a:cubicBezTo>
                  <a:pt x="1007" y="1413"/>
                  <a:pt x="1007" y="1413"/>
                  <a:pt x="1007" y="1413"/>
                </a:cubicBezTo>
                <a:moveTo>
                  <a:pt x="3141" y="2139"/>
                </a:moveTo>
                <a:cubicBezTo>
                  <a:pt x="3202" y="2278"/>
                  <a:pt x="3375" y="2333"/>
                  <a:pt x="3508" y="2246"/>
                </a:cubicBezTo>
                <a:cubicBezTo>
                  <a:pt x="3612" y="2178"/>
                  <a:pt x="3643" y="2038"/>
                  <a:pt x="3592" y="1924"/>
                </a:cubicBezTo>
                <a:cubicBezTo>
                  <a:pt x="2846" y="268"/>
                  <a:pt x="2846" y="268"/>
                  <a:pt x="2846" y="268"/>
                </a:cubicBezTo>
                <a:moveTo>
                  <a:pt x="3141" y="2139"/>
                </a:moveTo>
                <a:cubicBezTo>
                  <a:pt x="2575" y="874"/>
                  <a:pt x="2575" y="874"/>
                  <a:pt x="2575" y="874"/>
                </a:cubicBezTo>
              </a:path>
            </a:pathLst>
          </a:custGeom>
          <a:noFill/>
          <a:ln w="1587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sz="2353" kern="0">
              <a:solidFill>
                <a:sysClr val="windowText" lastClr="000000"/>
              </a:solidFill>
              <a:latin typeface="Segoe UI Semilight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3CFC0D3-E51A-4C5B-B118-9D4A91E95DCB}"/>
              </a:ext>
            </a:extLst>
          </p:cNvPr>
          <p:cNvGrpSpPr/>
          <p:nvPr/>
        </p:nvGrpSpPr>
        <p:grpSpPr>
          <a:xfrm>
            <a:off x="8549611" y="2302831"/>
            <a:ext cx="842954" cy="687197"/>
            <a:chOff x="967154" y="1481463"/>
            <a:chExt cx="5331069" cy="4214949"/>
          </a:xfrm>
          <a:solidFill>
            <a:schemeClr val="bg1"/>
          </a:solidFill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561D3A4-D8E8-49DD-98FB-E485F72608D4}"/>
                </a:ext>
              </a:extLst>
            </p:cNvPr>
            <p:cNvCxnSpPr>
              <a:cxnSpLocks/>
            </p:cNvCxnSpPr>
            <p:nvPr/>
          </p:nvCxnSpPr>
          <p:spPr>
            <a:xfrm>
              <a:off x="967154" y="5696412"/>
              <a:ext cx="5331069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0D187138-9713-4144-B17E-D1F3E9213775}"/>
                </a:ext>
              </a:extLst>
            </p:cNvPr>
            <p:cNvSpPr/>
            <p:nvPr/>
          </p:nvSpPr>
          <p:spPr bwMode="auto">
            <a:xfrm>
              <a:off x="3301091" y="1481463"/>
              <a:ext cx="2666749" cy="4214949"/>
            </a:xfrm>
            <a:custGeom>
              <a:avLst/>
              <a:gdLst>
                <a:gd name="connsiteX0" fmla="*/ 0 w 2662937"/>
                <a:gd name="connsiteY0" fmla="*/ 0 h 4214948"/>
                <a:gd name="connsiteX1" fmla="*/ 2662937 w 2662937"/>
                <a:gd name="connsiteY1" fmla="*/ 0 h 4214948"/>
                <a:gd name="connsiteX2" fmla="*/ 2662937 w 2662937"/>
                <a:gd name="connsiteY2" fmla="*/ 4214948 h 4214948"/>
                <a:gd name="connsiteX3" fmla="*/ 0 w 2662937"/>
                <a:gd name="connsiteY3" fmla="*/ 4214948 h 4214948"/>
                <a:gd name="connsiteX4" fmla="*/ 0 w 2662937"/>
                <a:gd name="connsiteY4" fmla="*/ 3286480 h 4214948"/>
                <a:gd name="connsiteX5" fmla="*/ 864617 w 2662937"/>
                <a:gd name="connsiteY5" fmla="*/ 3286480 h 4214948"/>
                <a:gd name="connsiteX6" fmla="*/ 864617 w 2662937"/>
                <a:gd name="connsiteY6" fmla="*/ 896983 h 4214948"/>
                <a:gd name="connsiteX7" fmla="*/ 0 w 2662937"/>
                <a:gd name="connsiteY7" fmla="*/ 896983 h 4214948"/>
                <a:gd name="connsiteX8" fmla="*/ 0 w 2662937"/>
                <a:gd name="connsiteY8" fmla="*/ 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8" fmla="*/ 956057 w 2662937"/>
                <a:gd name="connsiteY8" fmla="*/ 337792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0" fmla="*/ 864617 w 2662937"/>
                <a:gd name="connsiteY0" fmla="*/ 896983 h 4214948"/>
                <a:gd name="connsiteX1" fmla="*/ 0 w 2662937"/>
                <a:gd name="connsiteY1" fmla="*/ 896983 h 4214948"/>
                <a:gd name="connsiteX2" fmla="*/ 0 w 2662937"/>
                <a:gd name="connsiteY2" fmla="*/ 0 h 4214948"/>
                <a:gd name="connsiteX3" fmla="*/ 2662937 w 2662937"/>
                <a:gd name="connsiteY3" fmla="*/ 0 h 4214948"/>
                <a:gd name="connsiteX4" fmla="*/ 2662937 w 2662937"/>
                <a:gd name="connsiteY4" fmla="*/ 4214948 h 4214948"/>
                <a:gd name="connsiteX5" fmla="*/ 0 w 2662937"/>
                <a:gd name="connsiteY5" fmla="*/ 4214948 h 4214948"/>
                <a:gd name="connsiteX0" fmla="*/ 0 w 2662937"/>
                <a:gd name="connsiteY0" fmla="*/ 896983 h 4214948"/>
                <a:gd name="connsiteX1" fmla="*/ 0 w 2662937"/>
                <a:gd name="connsiteY1" fmla="*/ 0 h 4214948"/>
                <a:gd name="connsiteX2" fmla="*/ 2662937 w 2662937"/>
                <a:gd name="connsiteY2" fmla="*/ 0 h 4214948"/>
                <a:gd name="connsiteX3" fmla="*/ 2662937 w 2662937"/>
                <a:gd name="connsiteY3" fmla="*/ 4214948 h 4214948"/>
                <a:gd name="connsiteX4" fmla="*/ 0 w 2662937"/>
                <a:gd name="connsiteY4" fmla="*/ 4214948 h 421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937" h="4214948">
                  <a:moveTo>
                    <a:pt x="0" y="896983"/>
                  </a:moveTo>
                  <a:lnTo>
                    <a:pt x="0" y="0"/>
                  </a:lnTo>
                  <a:lnTo>
                    <a:pt x="2662937" y="0"/>
                  </a:lnTo>
                  <a:lnTo>
                    <a:pt x="2662937" y="4214948"/>
                  </a:lnTo>
                  <a:lnTo>
                    <a:pt x="0" y="4214948"/>
                  </a:lnTo>
                </a:path>
              </a:pathLst>
            </a:custGeom>
            <a:grp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78">
                <a:solidFill>
                  <a:srgbClr val="FFFFFF"/>
                </a:solidFill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E0D1C611-897B-44DB-BACE-EB9EBEE98666}"/>
                </a:ext>
              </a:extLst>
            </p:cNvPr>
            <p:cNvSpPr/>
            <p:nvPr/>
          </p:nvSpPr>
          <p:spPr bwMode="auto">
            <a:xfrm>
              <a:off x="4427764" y="4700958"/>
              <a:ext cx="647703" cy="995454"/>
            </a:xfrm>
            <a:custGeom>
              <a:avLst/>
              <a:gdLst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4" fmla="*/ 0 w 696685"/>
                <a:gd name="connsiteY4" fmla="*/ 1302517 h 1831521"/>
                <a:gd name="connsiteX5" fmla="*/ 48985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6" fmla="*/ 140425 w 696685"/>
                <a:gd name="connsiteY6" fmla="*/ 1470756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0" fmla="*/ 0 w 647700"/>
                <a:gd name="connsiteY0" fmla="*/ 0 h 1831521"/>
                <a:gd name="connsiteX1" fmla="*/ 647700 w 647700"/>
                <a:gd name="connsiteY1" fmla="*/ 0 h 1831521"/>
                <a:gd name="connsiteX2" fmla="*/ 647700 w 647700"/>
                <a:gd name="connsiteY2" fmla="*/ 1831521 h 183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1831521">
                  <a:moveTo>
                    <a:pt x="0" y="0"/>
                  </a:moveTo>
                  <a:lnTo>
                    <a:pt x="647700" y="0"/>
                  </a:lnTo>
                  <a:lnTo>
                    <a:pt x="647700" y="1831521"/>
                  </a:lnTo>
                </a:path>
              </a:pathLst>
            </a:custGeom>
            <a:grp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78">
                <a:solidFill>
                  <a:srgbClr val="FFFFFF"/>
                </a:solidFill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456CC4B3-B078-468E-9A2D-7A063EFA55D5}"/>
                </a:ext>
              </a:extLst>
            </p:cNvPr>
            <p:cNvSpPr/>
            <p:nvPr/>
          </p:nvSpPr>
          <p:spPr bwMode="auto">
            <a:xfrm>
              <a:off x="1286611" y="2696307"/>
              <a:ext cx="2793020" cy="3000105"/>
            </a:xfrm>
            <a:prstGeom prst="rect">
              <a:avLst/>
            </a:prstGeom>
            <a:grp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78">
                <a:solidFill>
                  <a:srgbClr val="FFFFFF"/>
                </a:solidFill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DEC65F4C-5296-4D11-9935-D8EC135E7F3D}"/>
                </a:ext>
              </a:extLst>
            </p:cNvPr>
            <p:cNvSpPr/>
            <p:nvPr/>
          </p:nvSpPr>
          <p:spPr bwMode="auto">
            <a:xfrm>
              <a:off x="2225922" y="4700952"/>
              <a:ext cx="914397" cy="995460"/>
            </a:xfrm>
            <a:prstGeom prst="rect">
              <a:avLst/>
            </a:prstGeom>
            <a:grp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78">
                <a:solidFill>
                  <a:srgbClr val="FFFFFF"/>
                </a:solidFill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1" name="Freeform 128">
            <a:extLst>
              <a:ext uri="{FF2B5EF4-FFF2-40B4-BE49-F238E27FC236}">
                <a16:creationId xmlns:a16="http://schemas.microsoft.com/office/drawing/2014/main" id="{CC17696B-899A-48D9-A488-83034C5B6BB5}"/>
              </a:ext>
            </a:extLst>
          </p:cNvPr>
          <p:cNvSpPr>
            <a:spLocks noChangeAspect="1"/>
          </p:cNvSpPr>
          <p:nvPr/>
        </p:nvSpPr>
        <p:spPr bwMode="auto">
          <a:xfrm>
            <a:off x="2821723" y="2303578"/>
            <a:ext cx="1226147" cy="686450"/>
          </a:xfrm>
          <a:custGeom>
            <a:avLst/>
            <a:gdLst>
              <a:gd name="T0" fmla="*/ 396 w 509"/>
              <a:gd name="T1" fmla="*/ 281 h 281"/>
              <a:gd name="T2" fmla="*/ 57 w 509"/>
              <a:gd name="T3" fmla="*/ 281 h 281"/>
              <a:gd name="T4" fmla="*/ 0 w 509"/>
              <a:gd name="T5" fmla="*/ 223 h 281"/>
              <a:gd name="T6" fmla="*/ 43 w 509"/>
              <a:gd name="T7" fmla="*/ 168 h 281"/>
              <a:gd name="T8" fmla="*/ 110 w 509"/>
              <a:gd name="T9" fmla="*/ 116 h 281"/>
              <a:gd name="T10" fmla="*/ 232 w 509"/>
              <a:gd name="T11" fmla="*/ 0 h 281"/>
              <a:gd name="T12" fmla="*/ 343 w 509"/>
              <a:gd name="T13" fmla="*/ 70 h 281"/>
              <a:gd name="T14" fmla="*/ 396 w 509"/>
              <a:gd name="T15" fmla="*/ 56 h 281"/>
              <a:gd name="T16" fmla="*/ 509 w 509"/>
              <a:gd name="T17" fmla="*/ 169 h 281"/>
              <a:gd name="T18" fmla="*/ 396 w 509"/>
              <a:gd name="T19" fmla="*/ 281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09" h="281">
                <a:moveTo>
                  <a:pt x="396" y="281"/>
                </a:moveTo>
                <a:cubicBezTo>
                  <a:pt x="57" y="281"/>
                  <a:pt x="57" y="281"/>
                  <a:pt x="57" y="281"/>
                </a:cubicBezTo>
                <a:cubicBezTo>
                  <a:pt x="26" y="281"/>
                  <a:pt x="0" y="255"/>
                  <a:pt x="0" y="223"/>
                </a:cubicBezTo>
                <a:cubicBezTo>
                  <a:pt x="0" y="196"/>
                  <a:pt x="18" y="174"/>
                  <a:pt x="43" y="168"/>
                </a:cubicBezTo>
                <a:cubicBezTo>
                  <a:pt x="55" y="140"/>
                  <a:pt x="80" y="120"/>
                  <a:pt x="110" y="116"/>
                </a:cubicBezTo>
                <a:cubicBezTo>
                  <a:pt x="113" y="52"/>
                  <a:pt x="167" y="0"/>
                  <a:pt x="232" y="0"/>
                </a:cubicBezTo>
                <a:cubicBezTo>
                  <a:pt x="280" y="0"/>
                  <a:pt x="323" y="28"/>
                  <a:pt x="343" y="70"/>
                </a:cubicBezTo>
                <a:cubicBezTo>
                  <a:pt x="359" y="61"/>
                  <a:pt x="377" y="56"/>
                  <a:pt x="396" y="56"/>
                </a:cubicBezTo>
                <a:cubicBezTo>
                  <a:pt x="458" y="56"/>
                  <a:pt x="509" y="107"/>
                  <a:pt x="509" y="169"/>
                </a:cubicBezTo>
                <a:cubicBezTo>
                  <a:pt x="509" y="230"/>
                  <a:pt x="458" y="281"/>
                  <a:pt x="396" y="281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  <a:miter lim="800000"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sz="1078">
              <a:solidFill>
                <a:srgbClr val="333333"/>
              </a:solidFill>
              <a:latin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70721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-2.96296E-6 L 0.4194 -2.96296E-6 " pathEditMode="relative" rAng="0" ptsTypes="AA">
                                      <p:cBhvr>
                                        <p:cTn id="6" dur="1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64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2.22222E-6 L 6.25E-7 0.38241 " pathEditMode="relative" rAng="0" ptsTypes="AA">
                                      <p:cBhvr>
                                        <p:cTn id="8" dur="2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12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2.22222E-6 L 6.25E-7 0.38241 " pathEditMode="relative" rAng="0" ptsTypes="AA">
                                      <p:cBhvr>
                                        <p:cTn id="10" dur="2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12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6.25E-7 -2.22222E-6 L -0.00026 0.39121 " pathEditMode="relative" rAng="0" ptsTypes="AA">
                                      <p:cBhvr>
                                        <p:cTn id="12" dur="2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956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6.25E-7 -2.22222E-6 L 6.25E-7 0.38241 " pathEditMode="relative" rAng="0" ptsTypes="AA">
                                      <p:cBhvr>
                                        <p:cTn id="14" dur="2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12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3" presetClass="path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-3.95833E-6 4.44444E-6 L 0.08802 4.44444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401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35" presetClass="path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2.70833E-6 4.44444E-6 L -0.06433 4.44444E-6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16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Motion origin="layout" path="M 6.25E-7 -2.22222E-6 L -0.00026 0.39121 " pathEditMode="relative" rAng="0" ptsTypes="AA">
                                      <p:cBhvr>
                                        <p:cTn id="20" dur="2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956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Motion origin="layout" path="M 6.25E-7 -2.22222E-6 L -0.00026 0.39121 " pathEditMode="relative" rAng="0" ptsTypes="AA">
                                      <p:cBhvr>
                                        <p:cTn id="22" dur="2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956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63" presetClass="path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animMotion origin="layout" path="M -3.95833E-6 4.44444E-6 L 0.16198 4.44444E-6 " pathEditMode="relative" rAng="0" ptsTypes="AA">
                                      <p:cBhvr>
                                        <p:cTn id="24" dur="3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09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35" presetClass="path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animMotion origin="layout" path="M 2.70833E-6 4.44444E-6 L -0.13008 4.44444E-6 " pathEditMode="relative" rAng="0" ptsTypes="AA">
                                      <p:cBhvr>
                                        <p:cTn id="26" dur="3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510" y="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animMotion origin="layout" path="M 6.25E-7 -2.22222E-6 L -0.00026 0.39121 " pathEditMode="relative" rAng="0" ptsTypes="AA">
                                      <p:cBhvr>
                                        <p:cTn id="28" dur="2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9560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63" presetClass="path" presetSubtype="0" fill="hold" nodeType="withEffect">
                                  <p:stCondLst>
                                    <p:cond delay="15000"/>
                                  </p:stCondLst>
                                  <p:childTnLst>
                                    <p:animMotion origin="layout" path="M -3.95833E-6 4.44444E-6 L 0.23269 4.44444E-6 " pathEditMode="relative" rAng="0" ptsTypes="AA">
                                      <p:cBhvr>
                                        <p:cTn id="30" dur="4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62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70857983-E263-43E6-B8B2-FFD998C44065}"/>
              </a:ext>
            </a:extLst>
          </p:cNvPr>
          <p:cNvSpPr txBox="1">
            <a:spLocks/>
          </p:cNvSpPr>
          <p:nvPr/>
        </p:nvSpPr>
        <p:spPr>
          <a:xfrm>
            <a:off x="224106" y="174124"/>
            <a:ext cx="11749569" cy="12672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algn="ctr" defTabSz="951304">
              <a:lnSpc>
                <a:spcPct val="100000"/>
              </a:lnSpc>
              <a:spcBef>
                <a:spcPct val="0"/>
              </a:spcBef>
              <a:buNone/>
              <a:defRPr sz="5400" b="0" cap="none" spc="-51" baseline="0">
                <a:ln w="3175">
                  <a:noFill/>
                </a:ln>
                <a:effectLst/>
                <a:cs typeface="Segoe UI" pitchFamily="34" charset="0"/>
              </a:defRPr>
            </a:lvl1pPr>
          </a:lstStyle>
          <a:p>
            <a:pPr defTabSz="932563"/>
            <a:r>
              <a:rPr lang="en-US" sz="2745" spc="-50" dirty="0">
                <a:solidFill>
                  <a:srgbClr val="1A1A1A"/>
                </a:solidFill>
                <a:latin typeface="Segoe UI"/>
              </a:rPr>
              <a:t>Development Tools: Jupyter, VS Code, Visual Studio, and 3</a:t>
            </a:r>
            <a:r>
              <a:rPr lang="en-US" sz="2745" spc="-50" baseline="30000" dirty="0">
                <a:solidFill>
                  <a:srgbClr val="1A1A1A"/>
                </a:solidFill>
                <a:latin typeface="Segoe UI"/>
              </a:rPr>
              <a:t>rd</a:t>
            </a:r>
            <a:r>
              <a:rPr lang="en-US" sz="2745" spc="-50" dirty="0">
                <a:solidFill>
                  <a:srgbClr val="1A1A1A"/>
                </a:solidFill>
                <a:latin typeface="Segoe UI"/>
              </a:rPr>
              <a:t> Party, </a:t>
            </a:r>
          </a:p>
          <a:p>
            <a:pPr defTabSz="932563"/>
            <a:r>
              <a:rPr lang="en-US" sz="2745" spc="-50" dirty="0">
                <a:solidFill>
                  <a:srgbClr val="1A1A1A"/>
                </a:solidFill>
                <a:latin typeface="Segoe UI"/>
              </a:rPr>
              <a:t>SDK’s and R/Python Packages</a:t>
            </a:r>
          </a:p>
          <a:p>
            <a:pPr defTabSz="932563"/>
            <a:r>
              <a:rPr lang="en-US" sz="2745" spc="-50" dirty="0">
                <a:solidFill>
                  <a:srgbClr val="D83B01"/>
                </a:solidFill>
                <a:latin typeface="Segoe UI"/>
              </a:rPr>
              <a:t>(All available on the Azure Data Science Virtual Machine)</a:t>
            </a:r>
          </a:p>
        </p:txBody>
      </p:sp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0FA4745E-57B5-2340-9596-E5E2644ED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8936" y="3167687"/>
            <a:ext cx="4487231" cy="2771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53F8064-EEE3-487F-80AF-934B5D3621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310" y="1638728"/>
            <a:ext cx="4147714" cy="2657129"/>
          </a:xfrm>
          <a:prstGeom prst="rect">
            <a:avLst/>
          </a:prstGeom>
        </p:spPr>
      </p:pic>
      <p:pic>
        <p:nvPicPr>
          <p:cNvPr id="4" name="Picture 3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43676540-10C5-5447-86F6-72E44B8D12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3352" y="2328590"/>
            <a:ext cx="4487232" cy="3026719"/>
          </a:xfrm>
          <a:prstGeom prst="rect">
            <a:avLst/>
          </a:prstGeom>
        </p:spPr>
      </p:pic>
      <p:pic>
        <p:nvPicPr>
          <p:cNvPr id="6" name="Picture 5" descr="A picture containing screenshot&#10;&#10;Description generated with high confidence">
            <a:extLst>
              <a:ext uri="{FF2B5EF4-FFF2-40B4-BE49-F238E27FC236}">
                <a16:creationId xmlns:a16="http://schemas.microsoft.com/office/drawing/2014/main" id="{79C7F983-CABE-6D49-95CE-88032DE512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4877" y="1638728"/>
            <a:ext cx="3227430" cy="242057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2CFD2E9-D2D4-434D-9FF8-36BDC8D87FE7}"/>
              </a:ext>
            </a:extLst>
          </p:cNvPr>
          <p:cNvSpPr/>
          <p:nvPr/>
        </p:nvSpPr>
        <p:spPr>
          <a:xfrm>
            <a:off x="3534186" y="5986056"/>
            <a:ext cx="5472267" cy="514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745" dirty="0">
                <a:solidFill>
                  <a:srgbClr val="1A1A1A"/>
                </a:solidFill>
                <a:latin typeface="Segoe UI"/>
              </a:rPr>
              <a:t>https://</a:t>
            </a:r>
            <a:r>
              <a:rPr lang="en-US" sz="2745" dirty="0" err="1">
                <a:solidFill>
                  <a:srgbClr val="1A1A1A"/>
                </a:solidFill>
                <a:latin typeface="Segoe UI"/>
              </a:rPr>
              <a:t>tinyurl.com</a:t>
            </a:r>
            <a:r>
              <a:rPr lang="en-US" sz="2745" dirty="0">
                <a:solidFill>
                  <a:srgbClr val="1A1A1A"/>
                </a:solidFill>
                <a:latin typeface="Segoe UI"/>
              </a:rPr>
              <a:t>/</a:t>
            </a:r>
            <a:r>
              <a:rPr lang="en-US" sz="2745" dirty="0" err="1">
                <a:solidFill>
                  <a:srgbClr val="1A1A1A"/>
                </a:solidFill>
                <a:latin typeface="Segoe UI"/>
              </a:rPr>
              <a:t>LearnAI</a:t>
            </a:r>
            <a:r>
              <a:rPr lang="en-US" sz="2745" dirty="0">
                <a:solidFill>
                  <a:srgbClr val="1A1A1A"/>
                </a:solidFill>
                <a:latin typeface="Segoe UI"/>
              </a:rPr>
              <a:t>-DSVM</a:t>
            </a:r>
          </a:p>
        </p:txBody>
      </p:sp>
    </p:spTree>
    <p:extLst>
      <p:ext uri="{BB962C8B-B14F-4D97-AF65-F5344CB8AC3E}">
        <p14:creationId xmlns:p14="http://schemas.microsoft.com/office/powerpoint/2010/main" val="3521412848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/>
          <p:cNvCxnSpPr/>
          <p:nvPr/>
        </p:nvCxnSpPr>
        <p:spPr>
          <a:xfrm>
            <a:off x="866" y="2474599"/>
            <a:ext cx="12190271" cy="0"/>
          </a:xfrm>
          <a:prstGeom prst="line">
            <a:avLst/>
          </a:prstGeom>
          <a:noFill/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/>
        </p:nvSpPr>
        <p:spPr bwMode="auto">
          <a:xfrm>
            <a:off x="6025610" y="2412357"/>
            <a:ext cx="124486" cy="124486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5865590" y="1548148"/>
            <a:ext cx="460821" cy="430097"/>
            <a:chOff x="2028485" y="5305924"/>
            <a:chExt cx="546628" cy="510184"/>
          </a:xfrm>
          <a:solidFill>
            <a:schemeClr val="accent3"/>
          </a:solidFill>
        </p:grpSpPr>
        <p:sp>
          <p:nvSpPr>
            <p:cNvPr id="47" name="Rectangle 37"/>
            <p:cNvSpPr>
              <a:spLocks noChangeArrowheads="1"/>
            </p:cNvSpPr>
            <p:nvPr/>
          </p:nvSpPr>
          <p:spPr bwMode="auto">
            <a:xfrm>
              <a:off x="2219269" y="5305924"/>
              <a:ext cx="162917" cy="160772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0" name="Rectangle 38"/>
            <p:cNvSpPr>
              <a:spLocks noChangeArrowheads="1"/>
            </p:cNvSpPr>
            <p:nvPr/>
          </p:nvSpPr>
          <p:spPr bwMode="auto">
            <a:xfrm>
              <a:off x="2028485" y="5657479"/>
              <a:ext cx="160773" cy="158629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1" name="Rectangle 39"/>
            <p:cNvSpPr>
              <a:spLocks noChangeArrowheads="1"/>
            </p:cNvSpPr>
            <p:nvPr/>
          </p:nvSpPr>
          <p:spPr bwMode="auto">
            <a:xfrm>
              <a:off x="2412196" y="5657479"/>
              <a:ext cx="162917" cy="158629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2" name="Line 40"/>
            <p:cNvSpPr>
              <a:spLocks noChangeShapeType="1"/>
            </p:cNvSpPr>
            <p:nvPr/>
          </p:nvSpPr>
          <p:spPr bwMode="auto">
            <a:xfrm flipH="1" flipV="1">
              <a:off x="2345744" y="5470984"/>
              <a:ext cx="102895" cy="182209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4" name="Line 41"/>
            <p:cNvSpPr>
              <a:spLocks noChangeShapeType="1"/>
            </p:cNvSpPr>
            <p:nvPr/>
          </p:nvSpPr>
          <p:spPr bwMode="auto">
            <a:xfrm>
              <a:off x="2187114" y="5734650"/>
              <a:ext cx="225082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5" name="Line 42"/>
            <p:cNvSpPr>
              <a:spLocks noChangeShapeType="1"/>
            </p:cNvSpPr>
            <p:nvPr/>
          </p:nvSpPr>
          <p:spPr bwMode="auto">
            <a:xfrm flipH="1">
              <a:off x="2152816" y="5470984"/>
              <a:ext cx="102895" cy="182209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58" name="Rectangle 57"/>
          <p:cNvSpPr/>
          <p:nvPr/>
        </p:nvSpPr>
        <p:spPr bwMode="auto">
          <a:xfrm>
            <a:off x="3286421" y="3245699"/>
            <a:ext cx="6655651" cy="43872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20" kern="0" dirty="0">
                <a:solidFill>
                  <a:srgbClr val="FF0000"/>
                </a:solidFill>
                <a:latin typeface="Segoe UI"/>
                <a:cs typeface="Segoe UI Semilight" panose="020B0402040204020203" pitchFamily="34" charset="0"/>
              </a:rPr>
              <a:t>Find</a:t>
            </a:r>
            <a:r>
              <a:rPr lang="en-US" sz="3920" kern="0" dirty="0">
                <a:solidFill>
                  <a:srgbClr val="1A1A1A"/>
                </a:solidFill>
                <a:latin typeface="Segoe UI"/>
                <a:cs typeface="Segoe UI Semilight" panose="020B0402040204020203" pitchFamily="34" charset="0"/>
              </a:rPr>
              <a:t> AI - S</a:t>
            </a:r>
            <a:r>
              <a:rPr lang="en-US" sz="3920" kern="0" dirty="0">
                <a:solidFill>
                  <a:srgbClr val="1A1A1A"/>
                </a:solidFill>
                <a:latin typeface="Segoe UI Semibold"/>
                <a:cs typeface="Segoe UI Semilight" panose="020B0402040204020203" pitchFamily="34" charset="0"/>
              </a:rPr>
              <a:t>olution Portal</a:t>
            </a:r>
          </a:p>
        </p:txBody>
      </p:sp>
      <p:grpSp>
        <p:nvGrpSpPr>
          <p:cNvPr id="67" name="Group 27"/>
          <p:cNvGrpSpPr>
            <a:grpSpLocks noChangeAspect="1"/>
          </p:cNvGrpSpPr>
          <p:nvPr/>
        </p:nvGrpSpPr>
        <p:grpSpPr bwMode="auto">
          <a:xfrm>
            <a:off x="3286421" y="1575486"/>
            <a:ext cx="419334" cy="374267"/>
            <a:chOff x="3810" y="2105"/>
            <a:chExt cx="214" cy="191"/>
          </a:xfrm>
        </p:grpSpPr>
        <p:sp>
          <p:nvSpPr>
            <p:cNvPr id="68" name="Freeform 28"/>
            <p:cNvSpPr>
              <a:spLocks/>
            </p:cNvSpPr>
            <p:nvPr/>
          </p:nvSpPr>
          <p:spPr bwMode="auto">
            <a:xfrm>
              <a:off x="3810" y="2105"/>
              <a:ext cx="214" cy="191"/>
            </a:xfrm>
            <a:custGeom>
              <a:avLst/>
              <a:gdLst>
                <a:gd name="T0" fmla="*/ 214 w 214"/>
                <a:gd name="T1" fmla="*/ 120 h 191"/>
                <a:gd name="T2" fmla="*/ 214 w 214"/>
                <a:gd name="T3" fmla="*/ 0 h 191"/>
                <a:gd name="T4" fmla="*/ 0 w 214"/>
                <a:gd name="T5" fmla="*/ 0 h 191"/>
                <a:gd name="T6" fmla="*/ 0 w 214"/>
                <a:gd name="T7" fmla="*/ 145 h 191"/>
                <a:gd name="T8" fmla="*/ 29 w 214"/>
                <a:gd name="T9" fmla="*/ 145 h 191"/>
                <a:gd name="T10" fmla="*/ 29 w 214"/>
                <a:gd name="T11" fmla="*/ 191 h 191"/>
                <a:gd name="T12" fmla="*/ 75 w 214"/>
                <a:gd name="T13" fmla="*/ 145 h 191"/>
                <a:gd name="T14" fmla="*/ 121 w 214"/>
                <a:gd name="T15" fmla="*/ 14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91">
                  <a:moveTo>
                    <a:pt x="214" y="120"/>
                  </a:moveTo>
                  <a:lnTo>
                    <a:pt x="214" y="0"/>
                  </a:lnTo>
                  <a:lnTo>
                    <a:pt x="0" y="0"/>
                  </a:lnTo>
                  <a:lnTo>
                    <a:pt x="0" y="145"/>
                  </a:lnTo>
                  <a:lnTo>
                    <a:pt x="29" y="145"/>
                  </a:lnTo>
                  <a:lnTo>
                    <a:pt x="29" y="191"/>
                  </a:lnTo>
                  <a:lnTo>
                    <a:pt x="75" y="145"/>
                  </a:lnTo>
                  <a:lnTo>
                    <a:pt x="121" y="145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69" name="Line 29"/>
            <p:cNvSpPr>
              <a:spLocks noChangeShapeType="1"/>
            </p:cNvSpPr>
            <p:nvPr/>
          </p:nvSpPr>
          <p:spPr bwMode="auto">
            <a:xfrm>
              <a:off x="3931" y="2250"/>
              <a:ext cx="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5" name="Freeform 30"/>
            <p:cNvSpPr>
              <a:spLocks/>
            </p:cNvSpPr>
            <p:nvPr/>
          </p:nvSpPr>
          <p:spPr bwMode="auto">
            <a:xfrm>
              <a:off x="3903" y="2221"/>
              <a:ext cx="121" cy="29"/>
            </a:xfrm>
            <a:custGeom>
              <a:avLst/>
              <a:gdLst>
                <a:gd name="T0" fmla="*/ 0 w 93"/>
                <a:gd name="T1" fmla="*/ 25 h 25"/>
                <a:gd name="T2" fmla="*/ 93 w 93"/>
                <a:gd name="T3" fmla="*/ 25 h 25"/>
                <a:gd name="T4" fmla="*/ 93 w 93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25">
                  <a:moveTo>
                    <a:pt x="0" y="25"/>
                  </a:moveTo>
                  <a:lnTo>
                    <a:pt x="93" y="25"/>
                  </a:lnTo>
                  <a:lnTo>
                    <a:pt x="93" y="0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6" name="Freeform 31"/>
            <p:cNvSpPr>
              <a:spLocks/>
            </p:cNvSpPr>
            <p:nvPr/>
          </p:nvSpPr>
          <p:spPr bwMode="auto">
            <a:xfrm>
              <a:off x="3865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7" name="Freeform 32"/>
            <p:cNvSpPr>
              <a:spLocks/>
            </p:cNvSpPr>
            <p:nvPr/>
          </p:nvSpPr>
          <p:spPr bwMode="auto">
            <a:xfrm>
              <a:off x="3911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8" name="Freeform 33"/>
            <p:cNvSpPr>
              <a:spLocks/>
            </p:cNvSpPr>
            <p:nvPr/>
          </p:nvSpPr>
          <p:spPr bwMode="auto">
            <a:xfrm>
              <a:off x="3958" y="2172"/>
              <a:ext cx="10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05" name="Oval 104"/>
          <p:cNvSpPr/>
          <p:nvPr/>
        </p:nvSpPr>
        <p:spPr bwMode="auto">
          <a:xfrm>
            <a:off x="844953" y="2415002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106" name="Group 14"/>
          <p:cNvGrpSpPr>
            <a:grpSpLocks noChangeAspect="1"/>
          </p:cNvGrpSpPr>
          <p:nvPr/>
        </p:nvGrpSpPr>
        <p:grpSpPr bwMode="auto">
          <a:xfrm>
            <a:off x="779372" y="1565220"/>
            <a:ext cx="255649" cy="394798"/>
            <a:chOff x="2912" y="2002"/>
            <a:chExt cx="158" cy="244"/>
          </a:xfrm>
        </p:grpSpPr>
        <p:sp>
          <p:nvSpPr>
            <p:cNvPr id="107" name="Rectangle 15"/>
            <p:cNvSpPr>
              <a:spLocks noChangeArrowheads="1"/>
            </p:cNvSpPr>
            <p:nvPr/>
          </p:nvSpPr>
          <p:spPr bwMode="auto">
            <a:xfrm>
              <a:off x="2912" y="2002"/>
              <a:ext cx="67" cy="65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8" name="Rectangle 16"/>
            <p:cNvSpPr>
              <a:spLocks noChangeArrowheads="1"/>
            </p:cNvSpPr>
            <p:nvPr/>
          </p:nvSpPr>
          <p:spPr bwMode="auto">
            <a:xfrm>
              <a:off x="3004" y="2002"/>
              <a:ext cx="66" cy="6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9" name="Rectangle 17"/>
            <p:cNvSpPr>
              <a:spLocks noChangeArrowheads="1"/>
            </p:cNvSpPr>
            <p:nvPr/>
          </p:nvSpPr>
          <p:spPr bwMode="auto">
            <a:xfrm>
              <a:off x="2912" y="2180"/>
              <a:ext cx="67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0" name="Rectangle 18"/>
            <p:cNvSpPr>
              <a:spLocks noChangeArrowheads="1"/>
            </p:cNvSpPr>
            <p:nvPr/>
          </p:nvSpPr>
          <p:spPr bwMode="auto">
            <a:xfrm>
              <a:off x="2912" y="2091"/>
              <a:ext cx="158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11" name="Oval 110"/>
          <p:cNvSpPr/>
          <p:nvPr/>
        </p:nvSpPr>
        <p:spPr bwMode="auto">
          <a:xfrm>
            <a:off x="3433845" y="2415002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3618FB3-4885-4DD1-AC3B-831C359BBB1E}"/>
              </a:ext>
            </a:extLst>
          </p:cNvPr>
          <p:cNvSpPr/>
          <p:nvPr/>
        </p:nvSpPr>
        <p:spPr bwMode="auto">
          <a:xfrm>
            <a:off x="2006282" y="4832008"/>
            <a:ext cx="7594427" cy="106585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921" kern="0" dirty="0">
              <a:solidFill>
                <a:srgbClr val="002050">
                  <a:lumMod val="60000"/>
                  <a:lumOff val="4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89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a14="http://schemas.microsoft.com/office/drawing/2010/main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 29"/>
          <p:cNvSpPr/>
          <p:nvPr/>
        </p:nvSpPr>
        <p:spPr bwMode="auto">
          <a:xfrm>
            <a:off x="270066" y="5337204"/>
            <a:ext cx="6847715" cy="8516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9" tIns="143366" rIns="179209" bIns="1433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FFFFFF"/>
                </a:solidFill>
                <a:latin typeface="Segoe UI Semilight" panose="020B0402040204020203" pitchFamily="34" charset="0"/>
                <a:ea typeface="Segoe UI" pitchFamily="34" charset="0"/>
              </a:rPr>
              <a:t>AI Solutions Gallery</a:t>
            </a:r>
            <a:endParaRPr lang="en-US" sz="1371" kern="0" dirty="0">
              <a:solidFill>
                <a:srgbClr val="FFFFFF"/>
              </a:solidFill>
              <a:latin typeface="Segoe UI Semilight" panose="020B0402040204020203" pitchFamily="34" charset="0"/>
              <a:ea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699" y="448699"/>
            <a:ext cx="10801919" cy="814710"/>
          </a:xfrm>
        </p:spPr>
        <p:txBody>
          <a:bodyPr/>
          <a:lstStyle/>
          <a:p>
            <a:pPr algn="ctr"/>
            <a:r>
              <a:rPr lang="en-US" sz="5294" b="0" dirty="0">
                <a:solidFill>
                  <a:schemeClr val="tx1"/>
                </a:solidFill>
                <a:latin typeface="+mn-lt"/>
              </a:rPr>
              <a:t>The Azure AI Landscape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8971555" y="5337204"/>
            <a:ext cx="3109808" cy="84435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07" tIns="89630" rIns="143407" bIns="89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i="1" kern="0" dirty="0">
                <a:solidFill>
                  <a:srgbClr val="D83B01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rPr>
              <a:t>Find</a:t>
            </a: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rPr>
              <a:t> AI</a:t>
            </a:r>
          </a:p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tificial Intelligence</a:t>
            </a: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rPr>
              <a:t> Solutions in a Portal</a:t>
            </a:r>
          </a:p>
        </p:txBody>
      </p:sp>
      <p:cxnSp>
        <p:nvCxnSpPr>
          <p:cNvPr id="41" name="Straight Arrow Connector 40"/>
          <p:cNvCxnSpPr>
            <a:cxnSpLocks/>
          </p:cNvCxnSpPr>
          <p:nvPr/>
        </p:nvCxnSpPr>
        <p:spPr>
          <a:xfrm flipV="1">
            <a:off x="7125569" y="5693912"/>
            <a:ext cx="1702965" cy="3623"/>
          </a:xfrm>
          <a:prstGeom prst="straightConnector1">
            <a:avLst/>
          </a:prstGeom>
          <a:solidFill>
            <a:srgbClr val="FFFFFF">
              <a:lumMod val="85000"/>
            </a:srgbClr>
          </a:solidFill>
          <a:ln w="19050" cap="flat" cmpd="sng" algn="ctr">
            <a:solidFill>
              <a:schemeClr val="tx1"/>
            </a:solidFill>
            <a:prstDash val="solid"/>
            <a:headEnd type="none"/>
            <a:tailEnd type="triangle" w="lg" len="med"/>
          </a:ln>
          <a:effectLst/>
        </p:spPr>
      </p:cxnSp>
      <p:sp>
        <p:nvSpPr>
          <p:cNvPr id="25" name="Rectangle 24"/>
          <p:cNvSpPr/>
          <p:nvPr/>
        </p:nvSpPr>
        <p:spPr bwMode="auto">
          <a:xfrm>
            <a:off x="8971554" y="3860309"/>
            <a:ext cx="3007942" cy="99207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07" tIns="89630" rIns="143407" bIns="89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i="1" kern="0" dirty="0">
                <a:solidFill>
                  <a:srgbClr val="D83B0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reate</a:t>
            </a: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I</a:t>
            </a:r>
          </a:p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tificial Intelligence with Platforms, Infrastructure and Tools, Deploy to Edge</a:t>
            </a:r>
          </a:p>
        </p:txBody>
      </p:sp>
      <p:cxnSp>
        <p:nvCxnSpPr>
          <p:cNvPr id="26" name="Straight Arrow Connector 25"/>
          <p:cNvCxnSpPr>
            <a:cxnSpLocks/>
          </p:cNvCxnSpPr>
          <p:nvPr/>
        </p:nvCxnSpPr>
        <p:spPr>
          <a:xfrm>
            <a:off x="7125569" y="4325919"/>
            <a:ext cx="1702965" cy="0"/>
          </a:xfrm>
          <a:prstGeom prst="straightConnector1">
            <a:avLst/>
          </a:prstGeom>
          <a:solidFill>
            <a:srgbClr val="FFFFFF">
              <a:lumMod val="85000"/>
            </a:srgbClr>
          </a:solidFill>
          <a:ln w="19050" cap="flat" cmpd="sng" algn="ctr">
            <a:solidFill>
              <a:schemeClr val="tx1"/>
            </a:solidFill>
            <a:prstDash val="solid"/>
            <a:headEnd type="none"/>
            <a:tailEnd type="triangle" w="lg" len="med"/>
          </a:ln>
          <a:effectLst/>
        </p:spPr>
      </p:cxnSp>
      <p:sp>
        <p:nvSpPr>
          <p:cNvPr id="5" name="Rectangle 4"/>
          <p:cNvSpPr/>
          <p:nvPr/>
        </p:nvSpPr>
        <p:spPr bwMode="auto">
          <a:xfrm>
            <a:off x="270066" y="3475023"/>
            <a:ext cx="6847715" cy="850897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8" tIns="143407" rIns="179209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Segoe UI" pitchFamily="34" charset="0"/>
              </a:rPr>
              <a:t>Machine Learning Services, Pretrained Models, Frameworks and Infrastructure, IoT</a:t>
            </a:r>
            <a:endParaRPr lang="en-US" sz="1766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Segoe UI" pitchFamily="34" charset="0"/>
            </a:endParaRPr>
          </a:p>
        </p:txBody>
      </p:sp>
      <p:sp>
        <p:nvSpPr>
          <p:cNvPr id="4" name="Freeform 13"/>
          <p:cNvSpPr/>
          <p:nvPr/>
        </p:nvSpPr>
        <p:spPr bwMode="auto">
          <a:xfrm>
            <a:off x="267232" y="4292789"/>
            <a:ext cx="6847715" cy="884733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8" tIns="143407" rIns="179209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</a:rPr>
              <a:t>Azure Databricks</a:t>
            </a:r>
          </a:p>
        </p:txBody>
      </p:sp>
      <p:sp>
        <p:nvSpPr>
          <p:cNvPr id="10" name="Freeform 239"/>
          <p:cNvSpPr/>
          <p:nvPr/>
        </p:nvSpPr>
        <p:spPr bwMode="auto">
          <a:xfrm flipH="1">
            <a:off x="506813" y="3644521"/>
            <a:ext cx="445591" cy="478771"/>
          </a:xfrm>
          <a:custGeom>
            <a:avLst/>
            <a:gdLst>
              <a:gd name="connsiteX0" fmla="*/ 1820774 w 3146654"/>
              <a:gd name="connsiteY0" fmla="*/ 396240 h 3329940"/>
              <a:gd name="connsiteX1" fmla="*/ 1820774 w 3146654"/>
              <a:gd name="connsiteY1" fmla="*/ 1062990 h 3329940"/>
              <a:gd name="connsiteX2" fmla="*/ 2760574 w 3146654"/>
              <a:gd name="connsiteY2" fmla="*/ 2815590 h 3329940"/>
              <a:gd name="connsiteX3" fmla="*/ 2722474 w 3146654"/>
              <a:gd name="connsiteY3" fmla="*/ 2923540 h 3329940"/>
              <a:gd name="connsiteX4" fmla="*/ 2455774 w 3146654"/>
              <a:gd name="connsiteY4" fmla="*/ 2923540 h 3329940"/>
              <a:gd name="connsiteX5" fmla="*/ 1693774 w 3146654"/>
              <a:gd name="connsiteY5" fmla="*/ 1418590 h 3329940"/>
              <a:gd name="connsiteX6" fmla="*/ 1141324 w 3146654"/>
              <a:gd name="connsiteY6" fmla="*/ 1418590 h 3329940"/>
              <a:gd name="connsiteX7" fmla="*/ 1331824 w 3146654"/>
              <a:gd name="connsiteY7" fmla="*/ 999490 h 3329940"/>
              <a:gd name="connsiteX8" fmla="*/ 1331824 w 3146654"/>
              <a:gd name="connsiteY8" fmla="*/ 396240 h 3329940"/>
              <a:gd name="connsiteX9" fmla="*/ 2415134 w 3146654"/>
              <a:gd name="connsiteY9" fmla="*/ 0 h 3329940"/>
              <a:gd name="connsiteX10" fmla="*/ 2369414 w 3146654"/>
              <a:gd name="connsiteY10" fmla="*/ 0 h 3329940"/>
              <a:gd name="connsiteX11" fmla="*/ 1607414 w 3146654"/>
              <a:gd name="connsiteY11" fmla="*/ 0 h 3329940"/>
              <a:gd name="connsiteX12" fmla="*/ 1584960 w 3146654"/>
              <a:gd name="connsiteY12" fmla="*/ 0 h 3329940"/>
              <a:gd name="connsiteX13" fmla="*/ 1561694 w 3146654"/>
              <a:gd name="connsiteY13" fmla="*/ 0 h 3329940"/>
              <a:gd name="connsiteX14" fmla="*/ 1539240 w 3146654"/>
              <a:gd name="connsiteY14" fmla="*/ 0 h 3329940"/>
              <a:gd name="connsiteX15" fmla="*/ 777240 w 3146654"/>
              <a:gd name="connsiteY15" fmla="*/ 0 h 3329940"/>
              <a:gd name="connsiteX16" fmla="*/ 731520 w 3146654"/>
              <a:gd name="connsiteY16" fmla="*/ 0 h 3329940"/>
              <a:gd name="connsiteX17" fmla="*/ 731520 w 3146654"/>
              <a:gd name="connsiteY17" fmla="*/ 381000 h 3329940"/>
              <a:gd name="connsiteX18" fmla="*/ 784860 w 3146654"/>
              <a:gd name="connsiteY18" fmla="*/ 381000 h 3329940"/>
              <a:gd name="connsiteX19" fmla="*/ 960120 w 3146654"/>
              <a:gd name="connsiteY19" fmla="*/ 381000 h 3329940"/>
              <a:gd name="connsiteX20" fmla="*/ 960120 w 3146654"/>
              <a:gd name="connsiteY20" fmla="*/ 899160 h 3329940"/>
              <a:gd name="connsiteX21" fmla="*/ 0 w 3146654"/>
              <a:gd name="connsiteY21" fmla="*/ 2834640 h 3329940"/>
              <a:gd name="connsiteX22" fmla="*/ 297180 w 3146654"/>
              <a:gd name="connsiteY22" fmla="*/ 3329940 h 3329940"/>
              <a:gd name="connsiteX23" fmla="*/ 1561694 w 3146654"/>
              <a:gd name="connsiteY23" fmla="*/ 3329940 h 3329940"/>
              <a:gd name="connsiteX24" fmla="*/ 1584960 w 3146654"/>
              <a:gd name="connsiteY24" fmla="*/ 3329940 h 3329940"/>
              <a:gd name="connsiteX25" fmla="*/ 2849474 w 3146654"/>
              <a:gd name="connsiteY25" fmla="*/ 3329940 h 3329940"/>
              <a:gd name="connsiteX26" fmla="*/ 3146654 w 3146654"/>
              <a:gd name="connsiteY26" fmla="*/ 2834640 h 3329940"/>
              <a:gd name="connsiteX27" fmla="*/ 2186534 w 3146654"/>
              <a:gd name="connsiteY27" fmla="*/ 899160 h 3329940"/>
              <a:gd name="connsiteX28" fmla="*/ 2186534 w 3146654"/>
              <a:gd name="connsiteY28" fmla="*/ 381000 h 3329940"/>
              <a:gd name="connsiteX29" fmla="*/ 2361794 w 3146654"/>
              <a:gd name="connsiteY29" fmla="*/ 381000 h 3329940"/>
              <a:gd name="connsiteX30" fmla="*/ 2415134 w 3146654"/>
              <a:gd name="connsiteY30" fmla="*/ 381000 h 332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146654" h="3329940">
                <a:moveTo>
                  <a:pt x="1820774" y="396240"/>
                </a:moveTo>
                <a:lnTo>
                  <a:pt x="1820774" y="1062990"/>
                </a:lnTo>
                <a:lnTo>
                  <a:pt x="2760574" y="2815590"/>
                </a:lnTo>
                <a:lnTo>
                  <a:pt x="2722474" y="2923540"/>
                </a:lnTo>
                <a:lnTo>
                  <a:pt x="2455774" y="2923540"/>
                </a:lnTo>
                <a:lnTo>
                  <a:pt x="1693774" y="1418590"/>
                </a:lnTo>
                <a:lnTo>
                  <a:pt x="1141324" y="1418590"/>
                </a:lnTo>
                <a:lnTo>
                  <a:pt x="1331824" y="999490"/>
                </a:lnTo>
                <a:lnTo>
                  <a:pt x="1331824" y="396240"/>
                </a:lnTo>
                <a:close/>
                <a:moveTo>
                  <a:pt x="2415134" y="0"/>
                </a:moveTo>
                <a:lnTo>
                  <a:pt x="2369414" y="0"/>
                </a:lnTo>
                <a:lnTo>
                  <a:pt x="1607414" y="0"/>
                </a:lnTo>
                <a:lnTo>
                  <a:pt x="1584960" y="0"/>
                </a:lnTo>
                <a:lnTo>
                  <a:pt x="1561694" y="0"/>
                </a:lnTo>
                <a:lnTo>
                  <a:pt x="1539240" y="0"/>
                </a:lnTo>
                <a:lnTo>
                  <a:pt x="777240" y="0"/>
                </a:lnTo>
                <a:lnTo>
                  <a:pt x="731520" y="0"/>
                </a:lnTo>
                <a:lnTo>
                  <a:pt x="731520" y="381000"/>
                </a:lnTo>
                <a:lnTo>
                  <a:pt x="784860" y="381000"/>
                </a:lnTo>
                <a:lnTo>
                  <a:pt x="960120" y="381000"/>
                </a:lnTo>
                <a:lnTo>
                  <a:pt x="960120" y="899160"/>
                </a:lnTo>
                <a:lnTo>
                  <a:pt x="0" y="2834640"/>
                </a:lnTo>
                <a:lnTo>
                  <a:pt x="297180" y="3329940"/>
                </a:lnTo>
                <a:lnTo>
                  <a:pt x="1561694" y="3329940"/>
                </a:lnTo>
                <a:lnTo>
                  <a:pt x="1584960" y="3329940"/>
                </a:lnTo>
                <a:lnTo>
                  <a:pt x="2849474" y="3329940"/>
                </a:lnTo>
                <a:lnTo>
                  <a:pt x="3146654" y="2834640"/>
                </a:lnTo>
                <a:lnTo>
                  <a:pt x="2186534" y="899160"/>
                </a:lnTo>
                <a:lnTo>
                  <a:pt x="2186534" y="381000"/>
                </a:lnTo>
                <a:lnTo>
                  <a:pt x="2361794" y="381000"/>
                </a:lnTo>
                <a:lnTo>
                  <a:pt x="2415134" y="381000"/>
                </a:ln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06669" tIns="45688" rIns="91375" bIns="456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6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1"/>
              </a:gradFill>
              <a:latin typeface="Segoe UI"/>
              <a:ea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971553" y="2530813"/>
            <a:ext cx="2950381" cy="11136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07" tIns="89630" rIns="143407" bIns="89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i="1" kern="0" dirty="0">
                <a:solidFill>
                  <a:srgbClr val="D83B0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clude</a:t>
            </a:r>
            <a:r>
              <a:rPr lang="en-US" sz="1766" i="1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I</a:t>
            </a:r>
          </a:p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tificial Intelligence from Pre-built Services, Apps, and Knowledge Mining</a:t>
            </a:r>
          </a:p>
        </p:txBody>
      </p:sp>
      <p:cxnSp>
        <p:nvCxnSpPr>
          <p:cNvPr id="29" name="Straight Arrow Connector 28"/>
          <p:cNvCxnSpPr>
            <a:cxnSpLocks/>
          </p:cNvCxnSpPr>
          <p:nvPr/>
        </p:nvCxnSpPr>
        <p:spPr>
          <a:xfrm>
            <a:off x="7125569" y="2956615"/>
            <a:ext cx="1702965" cy="0"/>
          </a:xfrm>
          <a:prstGeom prst="straightConnector1">
            <a:avLst/>
          </a:prstGeom>
          <a:solidFill>
            <a:srgbClr val="FFFFFF">
              <a:lumMod val="85000"/>
            </a:srgbClr>
          </a:solidFill>
          <a:ln w="19050" cap="flat" cmpd="sng" algn="ctr">
            <a:solidFill>
              <a:schemeClr val="tx1"/>
            </a:solidFill>
            <a:prstDash val="solid"/>
            <a:headEnd type="none"/>
            <a:tailEnd type="triangle" w="lg" len="med"/>
          </a:ln>
          <a:effectLst/>
        </p:spPr>
      </p:cxnSp>
      <p:sp>
        <p:nvSpPr>
          <p:cNvPr id="30" name="Freeform 29"/>
          <p:cNvSpPr/>
          <p:nvPr/>
        </p:nvSpPr>
        <p:spPr bwMode="auto">
          <a:xfrm>
            <a:off x="269241" y="1615308"/>
            <a:ext cx="6849575" cy="85160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9" tIns="143366" rIns="179209" bIns="1433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FFFFFF"/>
                </a:solidFill>
                <a:latin typeface="Segoe UI Semilight" panose="020B0402040204020203" pitchFamily="34" charset="0"/>
                <a:ea typeface="Segoe UI" pitchFamily="34" charset="0"/>
              </a:rPr>
              <a:t>Applications</a:t>
            </a:r>
          </a:p>
        </p:txBody>
      </p:sp>
      <p:cxnSp>
        <p:nvCxnSpPr>
          <p:cNvPr id="32" name="Straight Arrow Connector 31"/>
          <p:cNvCxnSpPr>
            <a:cxnSpLocks/>
          </p:cNvCxnSpPr>
          <p:nvPr/>
        </p:nvCxnSpPr>
        <p:spPr>
          <a:xfrm>
            <a:off x="7117782" y="2041110"/>
            <a:ext cx="1702965" cy="0"/>
          </a:xfrm>
          <a:prstGeom prst="straightConnector1">
            <a:avLst/>
          </a:prstGeom>
          <a:solidFill>
            <a:srgbClr val="FFFFFF">
              <a:lumMod val="85000"/>
            </a:srgbClr>
          </a:solidFill>
          <a:ln w="19050" cap="flat" cmpd="sng" algn="ctr">
            <a:solidFill>
              <a:schemeClr val="tx1"/>
            </a:solidFill>
            <a:prstDash val="solid"/>
            <a:headEnd type="none"/>
            <a:tailEnd type="triangle" w="lg" len="med"/>
          </a:ln>
          <a:effectLst/>
        </p:spPr>
      </p:cxnSp>
      <p:sp>
        <p:nvSpPr>
          <p:cNvPr id="33" name="Rectangle 32"/>
          <p:cNvSpPr/>
          <p:nvPr/>
        </p:nvSpPr>
        <p:spPr bwMode="auto">
          <a:xfrm>
            <a:off x="8971555" y="1555650"/>
            <a:ext cx="3220446" cy="79468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07" tIns="89630" rIns="143407" bIns="89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i="1" kern="0" dirty="0">
                <a:solidFill>
                  <a:srgbClr val="D83B0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</a:t>
            </a:r>
            <a:r>
              <a:rPr lang="en-US" sz="1766" i="1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I </a:t>
            </a:r>
          </a:p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tificial Intelligence in Application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A0468E3-8AEE-4162-B8EC-055C6397C2F7}"/>
              </a:ext>
            </a:extLst>
          </p:cNvPr>
          <p:cNvGrpSpPr/>
          <p:nvPr/>
        </p:nvGrpSpPr>
        <p:grpSpPr>
          <a:xfrm>
            <a:off x="265373" y="2530813"/>
            <a:ext cx="6849575" cy="851604"/>
            <a:chOff x="270693" y="2581065"/>
            <a:chExt cx="6986923" cy="86868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E14F3E0-7CBB-4386-A3E7-FC455B8F8AC8}"/>
                </a:ext>
              </a:extLst>
            </p:cNvPr>
            <p:cNvGrpSpPr/>
            <p:nvPr/>
          </p:nvGrpSpPr>
          <p:grpSpPr>
            <a:xfrm>
              <a:off x="270693" y="2581065"/>
              <a:ext cx="6986923" cy="868680"/>
              <a:chOff x="270693" y="2581065"/>
              <a:chExt cx="6986923" cy="868680"/>
            </a:xfrm>
          </p:grpSpPr>
          <p:grpSp>
            <p:nvGrpSpPr>
              <p:cNvPr id="21" name="Group 20"/>
              <p:cNvGrpSpPr/>
              <p:nvPr/>
            </p:nvGrpSpPr>
            <p:grpSpPr>
              <a:xfrm>
                <a:off x="270693" y="2581065"/>
                <a:ext cx="4415608" cy="868680"/>
                <a:chOff x="280682" y="1876905"/>
                <a:chExt cx="4416235" cy="888279"/>
              </a:xfrm>
            </p:grpSpPr>
            <p:grpSp>
              <p:nvGrpSpPr>
                <p:cNvPr id="9" name="Group 8"/>
                <p:cNvGrpSpPr/>
                <p:nvPr/>
              </p:nvGrpSpPr>
              <p:grpSpPr>
                <a:xfrm>
                  <a:off x="280682" y="1876905"/>
                  <a:ext cx="4416235" cy="888279"/>
                  <a:chOff x="280683" y="1822264"/>
                  <a:chExt cx="4357246" cy="814256"/>
                </a:xfrm>
              </p:grpSpPr>
              <p:sp>
                <p:nvSpPr>
                  <p:cNvPr id="7" name="Freeform 29"/>
                  <p:cNvSpPr/>
                  <p:nvPr/>
                </p:nvSpPr>
                <p:spPr bwMode="auto">
                  <a:xfrm>
                    <a:off x="2242070" y="1822264"/>
                    <a:ext cx="2395859" cy="814256"/>
                  </a:xfrm>
                  <a:prstGeom prst="rect">
                    <a:avLst/>
                  </a:prstGeom>
                  <a:solidFill>
                    <a:schemeClr val="accent6">
                      <a:lumMod val="75000"/>
                    </a:schemeClr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06669" tIns="143366" rIns="89630" bIns="143366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1359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r>
                      <a:rPr lang="en-US" kern="0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 panose="020B0402040204020203" pitchFamily="34" charset="0"/>
                        <a:ea typeface="Segoe UI" pitchFamily="34" charset="0"/>
                      </a:rPr>
                      <a:t>Bot framework</a:t>
                    </a:r>
                  </a:p>
                </p:txBody>
              </p:sp>
              <p:sp>
                <p:nvSpPr>
                  <p:cNvPr id="6" name="Freeform 29"/>
                  <p:cNvSpPr/>
                  <p:nvPr/>
                </p:nvSpPr>
                <p:spPr bwMode="auto">
                  <a:xfrm>
                    <a:off x="280683" y="1822264"/>
                    <a:ext cx="1961386" cy="814256"/>
                  </a:xfrm>
                  <a:prstGeom prst="rect">
                    <a:avLst/>
                  </a:prstGeom>
                  <a:solidFill>
                    <a:schemeClr val="dk1">
                      <a:alpha val="50000"/>
                    </a:schemeClr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06669" tIns="143366" rIns="89630" bIns="143366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1359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r>
                      <a:rPr lang="en-US" sz="1961" kern="0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 panose="020B0402040204020203" pitchFamily="34" charset="0"/>
                        <a:ea typeface="Segoe UI" pitchFamily="34" charset="0"/>
                      </a:rPr>
                      <a:t>Cognitive services</a:t>
                    </a:r>
                  </a:p>
                </p:txBody>
              </p:sp>
            </p:grpSp>
            <p:grpSp>
              <p:nvGrpSpPr>
                <p:cNvPr id="14" name="Group 13"/>
                <p:cNvGrpSpPr/>
                <p:nvPr/>
              </p:nvGrpSpPr>
              <p:grpSpPr>
                <a:xfrm>
                  <a:off x="424432" y="2152772"/>
                  <a:ext cx="559489" cy="336545"/>
                  <a:chOff x="3200623" y="2524986"/>
                  <a:chExt cx="427310" cy="273999"/>
                </a:xfrm>
              </p:grpSpPr>
              <p:sp>
                <p:nvSpPr>
                  <p:cNvPr id="12" name="Freeform 221"/>
                  <p:cNvSpPr>
                    <a:spLocks/>
                  </p:cNvSpPr>
                  <p:nvPr/>
                </p:nvSpPr>
                <p:spPr bwMode="auto">
                  <a:xfrm flipH="1">
                    <a:off x="3200623" y="2524986"/>
                    <a:ext cx="427310" cy="273999"/>
                  </a:xfrm>
                  <a:custGeom>
                    <a:avLst/>
                    <a:gdLst>
                      <a:gd name="connsiteX0" fmla="*/ 1918425 w 3835400"/>
                      <a:gd name="connsiteY0" fmla="*/ 122238 h 2295525"/>
                      <a:gd name="connsiteX1" fmla="*/ 1304995 w 3835400"/>
                      <a:gd name="connsiteY1" fmla="*/ 621307 h 2295525"/>
                      <a:gd name="connsiteX2" fmla="*/ 1292848 w 3835400"/>
                      <a:gd name="connsiteY2" fmla="*/ 752160 h 2295525"/>
                      <a:gd name="connsiteX3" fmla="*/ 1226039 w 3835400"/>
                      <a:gd name="connsiteY3" fmla="*/ 806936 h 2295525"/>
                      <a:gd name="connsiteX4" fmla="*/ 1168340 w 3835400"/>
                      <a:gd name="connsiteY4" fmla="*/ 800850 h 2295525"/>
                      <a:gd name="connsiteX5" fmla="*/ 800889 w 3835400"/>
                      <a:gd name="connsiteY5" fmla="*/ 953005 h 2295525"/>
                      <a:gd name="connsiteX6" fmla="*/ 758374 w 3835400"/>
                      <a:gd name="connsiteY6" fmla="*/ 1004737 h 2295525"/>
                      <a:gd name="connsiteX7" fmla="*/ 706749 w 3835400"/>
                      <a:gd name="connsiteY7" fmla="*/ 1026039 h 2295525"/>
                      <a:gd name="connsiteX8" fmla="*/ 694602 w 3835400"/>
                      <a:gd name="connsiteY8" fmla="*/ 1026039 h 2295525"/>
                      <a:gd name="connsiteX9" fmla="*/ 120650 w 3835400"/>
                      <a:gd name="connsiteY9" fmla="*/ 1598142 h 2295525"/>
                      <a:gd name="connsiteX10" fmla="*/ 636903 w 3835400"/>
                      <a:gd name="connsiteY10" fmla="*/ 2170245 h 2295525"/>
                      <a:gd name="connsiteX11" fmla="*/ 679418 w 3835400"/>
                      <a:gd name="connsiteY11" fmla="*/ 2173288 h 2295525"/>
                      <a:gd name="connsiteX12" fmla="*/ 682455 w 3835400"/>
                      <a:gd name="connsiteY12" fmla="*/ 2173288 h 2295525"/>
                      <a:gd name="connsiteX13" fmla="*/ 688528 w 3835400"/>
                      <a:gd name="connsiteY13" fmla="*/ 2173288 h 2295525"/>
                      <a:gd name="connsiteX14" fmla="*/ 3151358 w 3835400"/>
                      <a:gd name="connsiteY14" fmla="*/ 2173288 h 2295525"/>
                      <a:gd name="connsiteX15" fmla="*/ 3160469 w 3835400"/>
                      <a:gd name="connsiteY15" fmla="*/ 2173288 h 2295525"/>
                      <a:gd name="connsiteX16" fmla="*/ 3169579 w 3835400"/>
                      <a:gd name="connsiteY16" fmla="*/ 2173288 h 2295525"/>
                      <a:gd name="connsiteX17" fmla="*/ 3193873 w 3835400"/>
                      <a:gd name="connsiteY17" fmla="*/ 2173288 h 2295525"/>
                      <a:gd name="connsiteX18" fmla="*/ 3713163 w 3835400"/>
                      <a:gd name="connsiteY18" fmla="*/ 1655961 h 2295525"/>
                      <a:gd name="connsiteX19" fmla="*/ 3488441 w 3835400"/>
                      <a:gd name="connsiteY19" fmla="*/ 1226884 h 2295525"/>
                      <a:gd name="connsiteX20" fmla="*/ 3442890 w 3835400"/>
                      <a:gd name="connsiteY20" fmla="*/ 1202539 h 2295525"/>
                      <a:gd name="connsiteX21" fmla="*/ 3409485 w 3835400"/>
                      <a:gd name="connsiteY21" fmla="*/ 1144720 h 2295525"/>
                      <a:gd name="connsiteX22" fmla="*/ 3415558 w 3835400"/>
                      <a:gd name="connsiteY22" fmla="*/ 1059513 h 2295525"/>
                      <a:gd name="connsiteX23" fmla="*/ 2789981 w 3835400"/>
                      <a:gd name="connsiteY23" fmla="*/ 435678 h 2295525"/>
                      <a:gd name="connsiteX24" fmla="*/ 2604738 w 3835400"/>
                      <a:gd name="connsiteY24" fmla="*/ 463065 h 2295525"/>
                      <a:gd name="connsiteX25" fmla="*/ 2547039 w 3835400"/>
                      <a:gd name="connsiteY25" fmla="*/ 484367 h 2295525"/>
                      <a:gd name="connsiteX26" fmla="*/ 2471119 w 3835400"/>
                      <a:gd name="connsiteY26" fmla="*/ 456979 h 2295525"/>
                      <a:gd name="connsiteX27" fmla="*/ 2437715 w 3835400"/>
                      <a:gd name="connsiteY27" fmla="*/ 396117 h 2295525"/>
                      <a:gd name="connsiteX28" fmla="*/ 1918425 w 3835400"/>
                      <a:gd name="connsiteY28" fmla="*/ 122238 h 2295525"/>
                      <a:gd name="connsiteX29" fmla="*/ 1919219 w 3835400"/>
                      <a:gd name="connsiteY29" fmla="*/ 0 h 2295525"/>
                      <a:gd name="connsiteX30" fmla="*/ 2541750 w 3835400"/>
                      <a:gd name="connsiteY30" fmla="*/ 331847 h 2295525"/>
                      <a:gd name="connsiteX31" fmla="*/ 2544787 w 3835400"/>
                      <a:gd name="connsiteY31" fmla="*/ 334891 h 2295525"/>
                      <a:gd name="connsiteX32" fmla="*/ 2553897 w 3835400"/>
                      <a:gd name="connsiteY32" fmla="*/ 353158 h 2295525"/>
                      <a:gd name="connsiteX33" fmla="*/ 2563007 w 3835400"/>
                      <a:gd name="connsiteY33" fmla="*/ 350113 h 2295525"/>
                      <a:gd name="connsiteX34" fmla="*/ 2566044 w 3835400"/>
                      <a:gd name="connsiteY34" fmla="*/ 347069 h 2295525"/>
                      <a:gd name="connsiteX35" fmla="*/ 2790762 w 3835400"/>
                      <a:gd name="connsiteY35" fmla="*/ 313580 h 2295525"/>
                      <a:gd name="connsiteX36" fmla="*/ 3537800 w 3835400"/>
                      <a:gd name="connsiteY36" fmla="*/ 1062518 h 2295525"/>
                      <a:gd name="connsiteX37" fmla="*/ 3537800 w 3835400"/>
                      <a:gd name="connsiteY37" fmla="*/ 1065562 h 2295525"/>
                      <a:gd name="connsiteX38" fmla="*/ 3534763 w 3835400"/>
                      <a:gd name="connsiteY38" fmla="*/ 1114274 h 2295525"/>
                      <a:gd name="connsiteX39" fmla="*/ 3546910 w 3835400"/>
                      <a:gd name="connsiteY39" fmla="*/ 1120363 h 2295525"/>
                      <a:gd name="connsiteX40" fmla="*/ 3552983 w 3835400"/>
                      <a:gd name="connsiteY40" fmla="*/ 1123407 h 2295525"/>
                      <a:gd name="connsiteX41" fmla="*/ 3835400 w 3835400"/>
                      <a:gd name="connsiteY41" fmla="*/ 1656188 h 2295525"/>
                      <a:gd name="connsiteX42" fmla="*/ 3194648 w 3835400"/>
                      <a:gd name="connsiteY42" fmla="*/ 2295525 h 2295525"/>
                      <a:gd name="connsiteX43" fmla="*/ 3191612 w 3835400"/>
                      <a:gd name="connsiteY43" fmla="*/ 2295525 h 2295525"/>
                      <a:gd name="connsiteX44" fmla="*/ 3170355 w 3835400"/>
                      <a:gd name="connsiteY44" fmla="*/ 2295525 h 2295525"/>
                      <a:gd name="connsiteX45" fmla="*/ 3161244 w 3835400"/>
                      <a:gd name="connsiteY45" fmla="*/ 2295525 h 2295525"/>
                      <a:gd name="connsiteX46" fmla="*/ 3155171 w 3835400"/>
                      <a:gd name="connsiteY46" fmla="*/ 2295525 h 2295525"/>
                      <a:gd name="connsiteX47" fmla="*/ 686303 w 3835400"/>
                      <a:gd name="connsiteY47" fmla="*/ 2295525 h 2295525"/>
                      <a:gd name="connsiteX48" fmla="*/ 680230 w 3835400"/>
                      <a:gd name="connsiteY48" fmla="*/ 2295525 h 2295525"/>
                      <a:gd name="connsiteX49" fmla="*/ 671119 w 3835400"/>
                      <a:gd name="connsiteY49" fmla="*/ 2295525 h 2295525"/>
                      <a:gd name="connsiteX50" fmla="*/ 628605 w 3835400"/>
                      <a:gd name="connsiteY50" fmla="*/ 2292481 h 2295525"/>
                      <a:gd name="connsiteX51" fmla="*/ 625568 w 3835400"/>
                      <a:gd name="connsiteY51" fmla="*/ 2292481 h 2295525"/>
                      <a:gd name="connsiteX52" fmla="*/ 0 w 3835400"/>
                      <a:gd name="connsiteY52" fmla="*/ 1598343 h 2295525"/>
                      <a:gd name="connsiteX53" fmla="*/ 683266 w 3835400"/>
                      <a:gd name="connsiteY53" fmla="*/ 904206 h 2295525"/>
                      <a:gd name="connsiteX54" fmla="*/ 710597 w 3835400"/>
                      <a:gd name="connsiteY54" fmla="*/ 873761 h 2295525"/>
                      <a:gd name="connsiteX55" fmla="*/ 713634 w 3835400"/>
                      <a:gd name="connsiteY55" fmla="*/ 867672 h 2295525"/>
                      <a:gd name="connsiteX56" fmla="*/ 1172181 w 3835400"/>
                      <a:gd name="connsiteY56" fmla="*/ 678915 h 2295525"/>
                      <a:gd name="connsiteX57" fmla="*/ 1178255 w 3835400"/>
                      <a:gd name="connsiteY57" fmla="*/ 678915 h 2295525"/>
                      <a:gd name="connsiteX58" fmla="*/ 1184328 w 3835400"/>
                      <a:gd name="connsiteY58" fmla="*/ 605848 h 2295525"/>
                      <a:gd name="connsiteX59" fmla="*/ 1187365 w 3835400"/>
                      <a:gd name="connsiteY59" fmla="*/ 599759 h 2295525"/>
                      <a:gd name="connsiteX60" fmla="*/ 1919219 w 3835400"/>
                      <a:gd name="connsiteY60" fmla="*/ 0 h 2295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</a:cxnLst>
                    <a:rect l="l" t="t" r="r" b="b"/>
                    <a:pathLst>
                      <a:path w="3835400" h="2295525">
                        <a:moveTo>
                          <a:pt x="1918425" y="122238"/>
                        </a:moveTo>
                        <a:cubicBezTo>
                          <a:pt x="1623857" y="122238"/>
                          <a:pt x="1365731" y="332212"/>
                          <a:pt x="1304995" y="621307"/>
                        </a:cubicBezTo>
                        <a:cubicBezTo>
                          <a:pt x="1292848" y="752160"/>
                          <a:pt x="1292848" y="752160"/>
                          <a:pt x="1292848" y="752160"/>
                        </a:cubicBezTo>
                        <a:cubicBezTo>
                          <a:pt x="1289811" y="785634"/>
                          <a:pt x="1259443" y="809979"/>
                          <a:pt x="1226039" y="806936"/>
                        </a:cubicBezTo>
                        <a:cubicBezTo>
                          <a:pt x="1168340" y="800850"/>
                          <a:pt x="1168340" y="800850"/>
                          <a:pt x="1168340" y="800850"/>
                        </a:cubicBezTo>
                        <a:cubicBezTo>
                          <a:pt x="1028648" y="800850"/>
                          <a:pt x="898066" y="855625"/>
                          <a:pt x="800889" y="953005"/>
                        </a:cubicBezTo>
                        <a:cubicBezTo>
                          <a:pt x="758374" y="1004737"/>
                          <a:pt x="758374" y="1004737"/>
                          <a:pt x="758374" y="1004737"/>
                        </a:cubicBezTo>
                        <a:cubicBezTo>
                          <a:pt x="746227" y="1019953"/>
                          <a:pt x="728007" y="1026039"/>
                          <a:pt x="706749" y="1026039"/>
                        </a:cubicBezTo>
                        <a:cubicBezTo>
                          <a:pt x="694602" y="1026039"/>
                          <a:pt x="694602" y="1026039"/>
                          <a:pt x="694602" y="1026039"/>
                        </a:cubicBezTo>
                        <a:cubicBezTo>
                          <a:pt x="378777" y="1026039"/>
                          <a:pt x="120650" y="1281660"/>
                          <a:pt x="120650" y="1598142"/>
                        </a:cubicBezTo>
                        <a:cubicBezTo>
                          <a:pt x="120650" y="1893323"/>
                          <a:pt x="342335" y="2139814"/>
                          <a:pt x="636903" y="2170245"/>
                        </a:cubicBezTo>
                        <a:cubicBezTo>
                          <a:pt x="679418" y="2173288"/>
                          <a:pt x="679418" y="2173288"/>
                          <a:pt x="679418" y="2173288"/>
                        </a:cubicBezTo>
                        <a:cubicBezTo>
                          <a:pt x="679418" y="2173288"/>
                          <a:pt x="679418" y="2173288"/>
                          <a:pt x="682455" y="2173288"/>
                        </a:cubicBezTo>
                        <a:lnTo>
                          <a:pt x="688528" y="2173288"/>
                        </a:lnTo>
                        <a:cubicBezTo>
                          <a:pt x="3151358" y="2173288"/>
                          <a:pt x="3151358" y="2173288"/>
                          <a:pt x="3151358" y="2173288"/>
                        </a:cubicBezTo>
                        <a:cubicBezTo>
                          <a:pt x="3160469" y="2173288"/>
                          <a:pt x="3160469" y="2173288"/>
                          <a:pt x="3160469" y="2173288"/>
                        </a:cubicBezTo>
                        <a:cubicBezTo>
                          <a:pt x="3163506" y="2173288"/>
                          <a:pt x="3166542" y="2173288"/>
                          <a:pt x="3169579" y="2173288"/>
                        </a:cubicBezTo>
                        <a:cubicBezTo>
                          <a:pt x="3193873" y="2173288"/>
                          <a:pt x="3193873" y="2173288"/>
                          <a:pt x="3193873" y="2173288"/>
                        </a:cubicBezTo>
                        <a:cubicBezTo>
                          <a:pt x="3482368" y="2173288"/>
                          <a:pt x="3713163" y="1938969"/>
                          <a:pt x="3713163" y="1655961"/>
                        </a:cubicBezTo>
                        <a:cubicBezTo>
                          <a:pt x="3713163" y="1482504"/>
                          <a:pt x="3628133" y="1324263"/>
                          <a:pt x="3488441" y="1226884"/>
                        </a:cubicBezTo>
                        <a:cubicBezTo>
                          <a:pt x="3442890" y="1202539"/>
                          <a:pt x="3442890" y="1202539"/>
                          <a:pt x="3442890" y="1202539"/>
                        </a:cubicBezTo>
                        <a:cubicBezTo>
                          <a:pt x="3421632" y="1190367"/>
                          <a:pt x="3409485" y="1169065"/>
                          <a:pt x="3409485" y="1144720"/>
                        </a:cubicBezTo>
                        <a:cubicBezTo>
                          <a:pt x="3415558" y="1059513"/>
                          <a:pt x="3415558" y="1059513"/>
                          <a:pt x="3415558" y="1059513"/>
                        </a:cubicBezTo>
                        <a:cubicBezTo>
                          <a:pt x="3415558" y="715643"/>
                          <a:pt x="3133138" y="435678"/>
                          <a:pt x="2789981" y="435678"/>
                        </a:cubicBezTo>
                        <a:cubicBezTo>
                          <a:pt x="2726209" y="435678"/>
                          <a:pt x="2662437" y="444807"/>
                          <a:pt x="2604738" y="463065"/>
                        </a:cubicBezTo>
                        <a:cubicBezTo>
                          <a:pt x="2547039" y="484367"/>
                          <a:pt x="2547039" y="484367"/>
                          <a:pt x="2547039" y="484367"/>
                        </a:cubicBezTo>
                        <a:cubicBezTo>
                          <a:pt x="2516671" y="496540"/>
                          <a:pt x="2486303" y="484367"/>
                          <a:pt x="2471119" y="456979"/>
                        </a:cubicBezTo>
                        <a:cubicBezTo>
                          <a:pt x="2437715" y="396117"/>
                          <a:pt x="2437715" y="396117"/>
                          <a:pt x="2437715" y="396117"/>
                        </a:cubicBezTo>
                        <a:cubicBezTo>
                          <a:pt x="2322317" y="225704"/>
                          <a:pt x="2127963" y="122238"/>
                          <a:pt x="1918425" y="122238"/>
                        </a:cubicBezTo>
                        <a:close/>
                        <a:moveTo>
                          <a:pt x="1919219" y="0"/>
                        </a:moveTo>
                        <a:cubicBezTo>
                          <a:pt x="2168231" y="0"/>
                          <a:pt x="2402060" y="124823"/>
                          <a:pt x="2541750" y="331847"/>
                        </a:cubicBezTo>
                        <a:cubicBezTo>
                          <a:pt x="2541750" y="331847"/>
                          <a:pt x="2544787" y="334891"/>
                          <a:pt x="2544787" y="334891"/>
                        </a:cubicBezTo>
                        <a:cubicBezTo>
                          <a:pt x="2553897" y="353158"/>
                          <a:pt x="2553897" y="353158"/>
                          <a:pt x="2553897" y="353158"/>
                        </a:cubicBezTo>
                        <a:cubicBezTo>
                          <a:pt x="2563007" y="350113"/>
                          <a:pt x="2563007" y="350113"/>
                          <a:pt x="2563007" y="350113"/>
                        </a:cubicBezTo>
                        <a:cubicBezTo>
                          <a:pt x="2566044" y="350113"/>
                          <a:pt x="2566044" y="347069"/>
                          <a:pt x="2566044" y="347069"/>
                        </a:cubicBezTo>
                        <a:cubicBezTo>
                          <a:pt x="2638925" y="325758"/>
                          <a:pt x="2714844" y="313580"/>
                          <a:pt x="2790762" y="313580"/>
                        </a:cubicBezTo>
                        <a:cubicBezTo>
                          <a:pt x="3203759" y="313580"/>
                          <a:pt x="3537800" y="648471"/>
                          <a:pt x="3537800" y="1062518"/>
                        </a:cubicBezTo>
                        <a:cubicBezTo>
                          <a:pt x="3537800" y="1062518"/>
                          <a:pt x="3537800" y="1065562"/>
                          <a:pt x="3537800" y="1065562"/>
                        </a:cubicBezTo>
                        <a:cubicBezTo>
                          <a:pt x="3534763" y="1114274"/>
                          <a:pt x="3534763" y="1114274"/>
                          <a:pt x="3534763" y="1114274"/>
                        </a:cubicBezTo>
                        <a:cubicBezTo>
                          <a:pt x="3546910" y="1120363"/>
                          <a:pt x="3546910" y="1120363"/>
                          <a:pt x="3546910" y="1120363"/>
                        </a:cubicBezTo>
                        <a:cubicBezTo>
                          <a:pt x="3549947" y="1123407"/>
                          <a:pt x="3552983" y="1123407"/>
                          <a:pt x="3552983" y="1123407"/>
                        </a:cubicBezTo>
                        <a:cubicBezTo>
                          <a:pt x="3729114" y="1245185"/>
                          <a:pt x="3835400" y="1443076"/>
                          <a:pt x="3835400" y="1656188"/>
                        </a:cubicBezTo>
                        <a:cubicBezTo>
                          <a:pt x="3835400" y="2009346"/>
                          <a:pt x="3546910" y="2295525"/>
                          <a:pt x="3194648" y="2295525"/>
                        </a:cubicBezTo>
                        <a:cubicBezTo>
                          <a:pt x="3194648" y="2295525"/>
                          <a:pt x="3191612" y="2295525"/>
                          <a:pt x="3191612" y="2295525"/>
                        </a:cubicBezTo>
                        <a:cubicBezTo>
                          <a:pt x="3170355" y="2295525"/>
                          <a:pt x="3170355" y="2295525"/>
                          <a:pt x="3170355" y="2295525"/>
                        </a:cubicBezTo>
                        <a:cubicBezTo>
                          <a:pt x="3161244" y="2295525"/>
                          <a:pt x="3161244" y="2295525"/>
                          <a:pt x="3161244" y="2295525"/>
                        </a:cubicBezTo>
                        <a:cubicBezTo>
                          <a:pt x="3158208" y="2295525"/>
                          <a:pt x="3158208" y="2295525"/>
                          <a:pt x="3155171" y="2295525"/>
                        </a:cubicBezTo>
                        <a:cubicBezTo>
                          <a:pt x="686303" y="2295525"/>
                          <a:pt x="686303" y="2295525"/>
                          <a:pt x="686303" y="2295525"/>
                        </a:cubicBezTo>
                        <a:cubicBezTo>
                          <a:pt x="686303" y="2295525"/>
                          <a:pt x="683266" y="2295525"/>
                          <a:pt x="680230" y="2295525"/>
                        </a:cubicBezTo>
                        <a:cubicBezTo>
                          <a:pt x="671119" y="2295525"/>
                          <a:pt x="671119" y="2295525"/>
                          <a:pt x="671119" y="2295525"/>
                        </a:cubicBezTo>
                        <a:cubicBezTo>
                          <a:pt x="628605" y="2292481"/>
                          <a:pt x="628605" y="2292481"/>
                          <a:pt x="628605" y="2292481"/>
                        </a:cubicBezTo>
                        <a:cubicBezTo>
                          <a:pt x="628605" y="2292481"/>
                          <a:pt x="628605" y="2292481"/>
                          <a:pt x="625568" y="2292481"/>
                        </a:cubicBezTo>
                        <a:cubicBezTo>
                          <a:pt x="270270" y="2255947"/>
                          <a:pt x="0" y="1957590"/>
                          <a:pt x="0" y="1598343"/>
                        </a:cubicBezTo>
                        <a:cubicBezTo>
                          <a:pt x="0" y="1220830"/>
                          <a:pt x="306711" y="910295"/>
                          <a:pt x="683266" y="904206"/>
                        </a:cubicBezTo>
                        <a:cubicBezTo>
                          <a:pt x="710597" y="873761"/>
                          <a:pt x="710597" y="873761"/>
                          <a:pt x="710597" y="873761"/>
                        </a:cubicBezTo>
                        <a:cubicBezTo>
                          <a:pt x="710597" y="870717"/>
                          <a:pt x="713634" y="870717"/>
                          <a:pt x="713634" y="867672"/>
                        </a:cubicBezTo>
                        <a:cubicBezTo>
                          <a:pt x="835103" y="745894"/>
                          <a:pt x="999087" y="678915"/>
                          <a:pt x="1172181" y="678915"/>
                        </a:cubicBezTo>
                        <a:cubicBezTo>
                          <a:pt x="1172181" y="678915"/>
                          <a:pt x="1175218" y="678915"/>
                          <a:pt x="1178255" y="678915"/>
                        </a:cubicBezTo>
                        <a:cubicBezTo>
                          <a:pt x="1184328" y="605848"/>
                          <a:pt x="1184328" y="605848"/>
                          <a:pt x="1184328" y="605848"/>
                        </a:cubicBezTo>
                        <a:cubicBezTo>
                          <a:pt x="1184328" y="602804"/>
                          <a:pt x="1184328" y="599759"/>
                          <a:pt x="1187365" y="599759"/>
                        </a:cubicBezTo>
                        <a:cubicBezTo>
                          <a:pt x="1257210" y="252691"/>
                          <a:pt x="1566957" y="0"/>
                          <a:pt x="191921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375" tIns="45688" rIns="91375" bIns="45688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13545">
                      <a:defRPr/>
                    </a:pPr>
                    <a:endParaRPr lang="en-US" sz="1836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1"/>
                      </a:gradFill>
                      <a:latin typeface="Segoe UI"/>
                    </a:endParaRPr>
                  </a:p>
                </p:txBody>
              </p:sp>
              <p:sp>
                <p:nvSpPr>
                  <p:cNvPr id="13" name="Freeform 109"/>
                  <p:cNvSpPr>
                    <a:spLocks/>
                  </p:cNvSpPr>
                  <p:nvPr/>
                </p:nvSpPr>
                <p:spPr bwMode="auto">
                  <a:xfrm>
                    <a:off x="3314461" y="2603981"/>
                    <a:ext cx="148228" cy="149333"/>
                  </a:xfrm>
                  <a:custGeom>
                    <a:avLst/>
                    <a:gdLst>
                      <a:gd name="T0" fmla="*/ 680 w 701"/>
                      <a:gd name="T1" fmla="*/ 640 h 704"/>
                      <a:gd name="T2" fmla="*/ 568 w 701"/>
                      <a:gd name="T3" fmla="*/ 571 h 704"/>
                      <a:gd name="T4" fmla="*/ 531 w 701"/>
                      <a:gd name="T5" fmla="*/ 573 h 704"/>
                      <a:gd name="T6" fmla="*/ 351 w 701"/>
                      <a:gd name="T7" fmla="*/ 637 h 704"/>
                      <a:gd name="T8" fmla="*/ 64 w 701"/>
                      <a:gd name="T9" fmla="*/ 350 h 704"/>
                      <a:gd name="T10" fmla="*/ 351 w 701"/>
                      <a:gd name="T11" fmla="*/ 64 h 704"/>
                      <a:gd name="T12" fmla="*/ 631 w 701"/>
                      <a:gd name="T13" fmla="*/ 294 h 704"/>
                      <a:gd name="T14" fmla="*/ 474 w 701"/>
                      <a:gd name="T15" fmla="*/ 294 h 704"/>
                      <a:gd name="T16" fmla="*/ 445 w 701"/>
                      <a:gd name="T17" fmla="*/ 312 h 704"/>
                      <a:gd name="T18" fmla="*/ 432 w 701"/>
                      <a:gd name="T19" fmla="*/ 338 h 704"/>
                      <a:gd name="T20" fmla="*/ 320 w 701"/>
                      <a:gd name="T21" fmla="*/ 203 h 704"/>
                      <a:gd name="T22" fmla="*/ 284 w 701"/>
                      <a:gd name="T23" fmla="*/ 193 h 704"/>
                      <a:gd name="T24" fmla="*/ 263 w 701"/>
                      <a:gd name="T25" fmla="*/ 223 h 704"/>
                      <a:gd name="T26" fmla="*/ 263 w 701"/>
                      <a:gd name="T27" fmla="*/ 327 h 704"/>
                      <a:gd name="T28" fmla="*/ 192 w 701"/>
                      <a:gd name="T29" fmla="*/ 327 h 704"/>
                      <a:gd name="T30" fmla="*/ 160 w 701"/>
                      <a:gd name="T31" fmla="*/ 359 h 704"/>
                      <a:gd name="T32" fmla="*/ 192 w 701"/>
                      <a:gd name="T33" fmla="*/ 391 h 704"/>
                      <a:gd name="T34" fmla="*/ 295 w 701"/>
                      <a:gd name="T35" fmla="*/ 391 h 704"/>
                      <a:gd name="T36" fmla="*/ 327 w 701"/>
                      <a:gd name="T37" fmla="*/ 359 h 704"/>
                      <a:gd name="T38" fmla="*/ 327 w 701"/>
                      <a:gd name="T39" fmla="*/ 311 h 704"/>
                      <a:gd name="T40" fmla="*/ 414 w 701"/>
                      <a:gd name="T41" fmla="*/ 416 h 704"/>
                      <a:gd name="T42" fmla="*/ 439 w 701"/>
                      <a:gd name="T43" fmla="*/ 428 h 704"/>
                      <a:gd name="T44" fmla="*/ 443 w 701"/>
                      <a:gd name="T45" fmla="*/ 428 h 704"/>
                      <a:gd name="T46" fmla="*/ 468 w 701"/>
                      <a:gd name="T47" fmla="*/ 410 h 704"/>
                      <a:gd name="T48" fmla="*/ 494 w 701"/>
                      <a:gd name="T49" fmla="*/ 358 h 704"/>
                      <a:gd name="T50" fmla="*/ 661 w 701"/>
                      <a:gd name="T51" fmla="*/ 358 h 704"/>
                      <a:gd name="T52" fmla="*/ 665 w 701"/>
                      <a:gd name="T53" fmla="*/ 358 h 704"/>
                      <a:gd name="T54" fmla="*/ 670 w 701"/>
                      <a:gd name="T55" fmla="*/ 358 h 704"/>
                      <a:gd name="T56" fmla="*/ 700 w 701"/>
                      <a:gd name="T57" fmla="*/ 324 h 704"/>
                      <a:gd name="T58" fmla="*/ 589 w 701"/>
                      <a:gd name="T59" fmla="*/ 94 h 704"/>
                      <a:gd name="T60" fmla="*/ 351 w 701"/>
                      <a:gd name="T61" fmla="*/ 0 h 704"/>
                      <a:gd name="T62" fmla="*/ 0 w 701"/>
                      <a:gd name="T63" fmla="*/ 350 h 704"/>
                      <a:gd name="T64" fmla="*/ 351 w 701"/>
                      <a:gd name="T65" fmla="*/ 701 h 704"/>
                      <a:gd name="T66" fmla="*/ 553 w 701"/>
                      <a:gd name="T67" fmla="*/ 637 h 704"/>
                      <a:gd name="T68" fmla="*/ 646 w 701"/>
                      <a:gd name="T69" fmla="*/ 694 h 704"/>
                      <a:gd name="T70" fmla="*/ 690 w 701"/>
                      <a:gd name="T71" fmla="*/ 684 h 704"/>
                      <a:gd name="T72" fmla="*/ 680 w 701"/>
                      <a:gd name="T73" fmla="*/ 640 h 7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701" h="704">
                        <a:moveTo>
                          <a:pt x="680" y="640"/>
                        </a:moveTo>
                        <a:cubicBezTo>
                          <a:pt x="568" y="571"/>
                          <a:pt x="568" y="571"/>
                          <a:pt x="568" y="571"/>
                        </a:cubicBezTo>
                        <a:cubicBezTo>
                          <a:pt x="556" y="564"/>
                          <a:pt x="541" y="564"/>
                          <a:pt x="531" y="573"/>
                        </a:cubicBezTo>
                        <a:cubicBezTo>
                          <a:pt x="479" y="615"/>
                          <a:pt x="417" y="637"/>
                          <a:pt x="351" y="637"/>
                        </a:cubicBezTo>
                        <a:cubicBezTo>
                          <a:pt x="193" y="637"/>
                          <a:pt x="64" y="508"/>
                          <a:pt x="64" y="350"/>
                        </a:cubicBezTo>
                        <a:cubicBezTo>
                          <a:pt x="64" y="193"/>
                          <a:pt x="193" y="64"/>
                          <a:pt x="351" y="64"/>
                        </a:cubicBezTo>
                        <a:cubicBezTo>
                          <a:pt x="488" y="64"/>
                          <a:pt x="605" y="163"/>
                          <a:pt x="631" y="294"/>
                        </a:cubicBezTo>
                        <a:cubicBezTo>
                          <a:pt x="474" y="294"/>
                          <a:pt x="474" y="294"/>
                          <a:pt x="474" y="294"/>
                        </a:cubicBezTo>
                        <a:cubicBezTo>
                          <a:pt x="462" y="294"/>
                          <a:pt x="451" y="301"/>
                          <a:pt x="445" y="312"/>
                        </a:cubicBezTo>
                        <a:cubicBezTo>
                          <a:pt x="432" y="338"/>
                          <a:pt x="432" y="338"/>
                          <a:pt x="432" y="338"/>
                        </a:cubicBezTo>
                        <a:cubicBezTo>
                          <a:pt x="320" y="203"/>
                          <a:pt x="320" y="203"/>
                          <a:pt x="320" y="203"/>
                        </a:cubicBezTo>
                        <a:cubicBezTo>
                          <a:pt x="311" y="192"/>
                          <a:pt x="297" y="188"/>
                          <a:pt x="284" y="193"/>
                        </a:cubicBezTo>
                        <a:cubicBezTo>
                          <a:pt x="271" y="197"/>
                          <a:pt x="263" y="210"/>
                          <a:pt x="263" y="223"/>
                        </a:cubicBezTo>
                        <a:cubicBezTo>
                          <a:pt x="263" y="327"/>
                          <a:pt x="263" y="327"/>
                          <a:pt x="263" y="327"/>
                        </a:cubicBezTo>
                        <a:cubicBezTo>
                          <a:pt x="192" y="327"/>
                          <a:pt x="192" y="327"/>
                          <a:pt x="192" y="327"/>
                        </a:cubicBezTo>
                        <a:cubicBezTo>
                          <a:pt x="174" y="327"/>
                          <a:pt x="160" y="341"/>
                          <a:pt x="160" y="359"/>
                        </a:cubicBezTo>
                        <a:cubicBezTo>
                          <a:pt x="160" y="377"/>
                          <a:pt x="174" y="391"/>
                          <a:pt x="192" y="391"/>
                        </a:cubicBezTo>
                        <a:cubicBezTo>
                          <a:pt x="295" y="391"/>
                          <a:pt x="295" y="391"/>
                          <a:pt x="295" y="391"/>
                        </a:cubicBezTo>
                        <a:cubicBezTo>
                          <a:pt x="313" y="391"/>
                          <a:pt x="327" y="377"/>
                          <a:pt x="327" y="359"/>
                        </a:cubicBezTo>
                        <a:cubicBezTo>
                          <a:pt x="327" y="311"/>
                          <a:pt x="327" y="311"/>
                          <a:pt x="327" y="311"/>
                        </a:cubicBezTo>
                        <a:cubicBezTo>
                          <a:pt x="414" y="416"/>
                          <a:pt x="414" y="416"/>
                          <a:pt x="414" y="416"/>
                        </a:cubicBezTo>
                        <a:cubicBezTo>
                          <a:pt x="421" y="424"/>
                          <a:pt x="430" y="428"/>
                          <a:pt x="439" y="428"/>
                        </a:cubicBezTo>
                        <a:cubicBezTo>
                          <a:pt x="440" y="428"/>
                          <a:pt x="441" y="428"/>
                          <a:pt x="443" y="428"/>
                        </a:cubicBezTo>
                        <a:cubicBezTo>
                          <a:pt x="453" y="427"/>
                          <a:pt x="463" y="420"/>
                          <a:pt x="468" y="410"/>
                        </a:cubicBezTo>
                        <a:cubicBezTo>
                          <a:pt x="494" y="358"/>
                          <a:pt x="494" y="358"/>
                          <a:pt x="494" y="358"/>
                        </a:cubicBezTo>
                        <a:cubicBezTo>
                          <a:pt x="661" y="358"/>
                          <a:pt x="661" y="358"/>
                          <a:pt x="661" y="358"/>
                        </a:cubicBezTo>
                        <a:cubicBezTo>
                          <a:pt x="662" y="358"/>
                          <a:pt x="663" y="358"/>
                          <a:pt x="665" y="358"/>
                        </a:cubicBezTo>
                        <a:cubicBezTo>
                          <a:pt x="666" y="358"/>
                          <a:pt x="668" y="358"/>
                          <a:pt x="670" y="358"/>
                        </a:cubicBezTo>
                        <a:cubicBezTo>
                          <a:pt x="688" y="357"/>
                          <a:pt x="701" y="341"/>
                          <a:pt x="700" y="324"/>
                        </a:cubicBezTo>
                        <a:cubicBezTo>
                          <a:pt x="693" y="236"/>
                          <a:pt x="654" y="154"/>
                          <a:pt x="589" y="94"/>
                        </a:cubicBezTo>
                        <a:cubicBezTo>
                          <a:pt x="524" y="33"/>
                          <a:pt x="439" y="0"/>
                          <a:pt x="351" y="0"/>
                        </a:cubicBezTo>
                        <a:cubicBezTo>
                          <a:pt x="157" y="0"/>
                          <a:pt x="0" y="157"/>
                          <a:pt x="0" y="350"/>
                        </a:cubicBezTo>
                        <a:cubicBezTo>
                          <a:pt x="0" y="544"/>
                          <a:pt x="157" y="701"/>
                          <a:pt x="351" y="701"/>
                        </a:cubicBezTo>
                        <a:cubicBezTo>
                          <a:pt x="423" y="701"/>
                          <a:pt x="494" y="678"/>
                          <a:pt x="553" y="637"/>
                        </a:cubicBezTo>
                        <a:cubicBezTo>
                          <a:pt x="646" y="694"/>
                          <a:pt x="646" y="694"/>
                          <a:pt x="646" y="694"/>
                        </a:cubicBezTo>
                        <a:cubicBezTo>
                          <a:pt x="661" y="704"/>
                          <a:pt x="681" y="699"/>
                          <a:pt x="690" y="684"/>
                        </a:cubicBezTo>
                        <a:cubicBezTo>
                          <a:pt x="700" y="669"/>
                          <a:pt x="695" y="649"/>
                          <a:pt x="680" y="64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375" tIns="45688" rIns="91375" bIns="4568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45">
                      <a:defRPr/>
                    </a:pPr>
                    <a:endParaRPr lang="en-US" sz="1836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1"/>
                      </a:gradFill>
                      <a:latin typeface="Segoe UI"/>
                    </a:endParaRPr>
                  </a:p>
                </p:txBody>
              </p:sp>
            </p:grpSp>
            <p:sp>
              <p:nvSpPr>
                <p:cNvPr id="15" name="Freeform 230"/>
                <p:cNvSpPr/>
                <p:nvPr/>
              </p:nvSpPr>
              <p:spPr bwMode="auto">
                <a:xfrm>
                  <a:off x="2368834" y="2165629"/>
                  <a:ext cx="542136" cy="351758"/>
                </a:xfrm>
                <a:custGeom>
                  <a:avLst/>
                  <a:gdLst>
                    <a:gd name="connsiteX0" fmla="*/ 3322794 w 5223983"/>
                    <a:gd name="connsiteY0" fmla="*/ 1406050 h 3551081"/>
                    <a:gd name="connsiteX1" fmla="*/ 3699984 w 5223983"/>
                    <a:gd name="connsiteY1" fmla="*/ 1783240 h 3551081"/>
                    <a:gd name="connsiteX2" fmla="*/ 3322794 w 5223983"/>
                    <a:gd name="connsiteY2" fmla="*/ 2160430 h 3551081"/>
                    <a:gd name="connsiteX3" fmla="*/ 2945604 w 5223983"/>
                    <a:gd name="connsiteY3" fmla="*/ 1783240 h 3551081"/>
                    <a:gd name="connsiteX4" fmla="*/ 3322794 w 5223983"/>
                    <a:gd name="connsiteY4" fmla="*/ 1406050 h 3551081"/>
                    <a:gd name="connsiteX5" fmla="*/ 1901190 w 5223983"/>
                    <a:gd name="connsiteY5" fmla="*/ 1406050 h 3551081"/>
                    <a:gd name="connsiteX6" fmla="*/ 2278380 w 5223983"/>
                    <a:gd name="connsiteY6" fmla="*/ 1783240 h 3551081"/>
                    <a:gd name="connsiteX7" fmla="*/ 1901190 w 5223983"/>
                    <a:gd name="connsiteY7" fmla="*/ 2160430 h 3551081"/>
                    <a:gd name="connsiteX8" fmla="*/ 1524000 w 5223983"/>
                    <a:gd name="connsiteY8" fmla="*/ 1783240 h 3551081"/>
                    <a:gd name="connsiteX9" fmla="*/ 1901190 w 5223983"/>
                    <a:gd name="connsiteY9" fmla="*/ 1406050 h 3551081"/>
                    <a:gd name="connsiteX10" fmla="*/ 3444555 w 5223983"/>
                    <a:gd name="connsiteY10" fmla="*/ 1 h 3551081"/>
                    <a:gd name="connsiteX11" fmla="*/ 5223983 w 5223983"/>
                    <a:gd name="connsiteY11" fmla="*/ 1779430 h 3551081"/>
                    <a:gd name="connsiteX12" fmla="*/ 3452333 w 5223983"/>
                    <a:gd name="connsiteY12" fmla="*/ 3551081 h 3551081"/>
                    <a:gd name="connsiteX13" fmla="*/ 3296124 w 5223983"/>
                    <a:gd name="connsiteY13" fmla="*/ 3394871 h 3551081"/>
                    <a:gd name="connsiteX14" fmla="*/ 4919183 w 5223983"/>
                    <a:gd name="connsiteY14" fmla="*/ 1771811 h 3551081"/>
                    <a:gd name="connsiteX15" fmla="*/ 3295964 w 5223983"/>
                    <a:gd name="connsiteY15" fmla="*/ 148592 h 3551081"/>
                    <a:gd name="connsiteX16" fmla="*/ 1779429 w 5223983"/>
                    <a:gd name="connsiteY16" fmla="*/ 0 h 3551081"/>
                    <a:gd name="connsiteX17" fmla="*/ 1928020 w 5223983"/>
                    <a:gd name="connsiteY17" fmla="*/ 148590 h 3551081"/>
                    <a:gd name="connsiteX18" fmla="*/ 304801 w 5223983"/>
                    <a:gd name="connsiteY18" fmla="*/ 1771809 h 3551081"/>
                    <a:gd name="connsiteX19" fmla="*/ 1927860 w 5223983"/>
                    <a:gd name="connsiteY19" fmla="*/ 3394869 h 3551081"/>
                    <a:gd name="connsiteX20" fmla="*/ 1771651 w 5223983"/>
                    <a:gd name="connsiteY20" fmla="*/ 3551079 h 3551081"/>
                    <a:gd name="connsiteX21" fmla="*/ 0 w 5223983"/>
                    <a:gd name="connsiteY21" fmla="*/ 1779428 h 35510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223983" h="3551081">
                      <a:moveTo>
                        <a:pt x="3322794" y="1406050"/>
                      </a:moveTo>
                      <a:cubicBezTo>
                        <a:pt x="3531110" y="1406050"/>
                        <a:pt x="3699984" y="1574924"/>
                        <a:pt x="3699984" y="1783240"/>
                      </a:cubicBezTo>
                      <a:cubicBezTo>
                        <a:pt x="3699984" y="1991556"/>
                        <a:pt x="3531110" y="2160430"/>
                        <a:pt x="3322794" y="2160430"/>
                      </a:cubicBezTo>
                      <a:cubicBezTo>
                        <a:pt x="3114478" y="2160430"/>
                        <a:pt x="2945604" y="1991556"/>
                        <a:pt x="2945604" y="1783240"/>
                      </a:cubicBezTo>
                      <a:cubicBezTo>
                        <a:pt x="2945604" y="1574924"/>
                        <a:pt x="3114478" y="1406050"/>
                        <a:pt x="3322794" y="1406050"/>
                      </a:cubicBezTo>
                      <a:close/>
                      <a:moveTo>
                        <a:pt x="1901190" y="1406050"/>
                      </a:moveTo>
                      <a:cubicBezTo>
                        <a:pt x="2109506" y="1406050"/>
                        <a:pt x="2278380" y="1574924"/>
                        <a:pt x="2278380" y="1783240"/>
                      </a:cubicBezTo>
                      <a:cubicBezTo>
                        <a:pt x="2278380" y="1991556"/>
                        <a:pt x="2109506" y="2160430"/>
                        <a:pt x="1901190" y="2160430"/>
                      </a:cubicBezTo>
                      <a:cubicBezTo>
                        <a:pt x="1692874" y="2160430"/>
                        <a:pt x="1524000" y="1991556"/>
                        <a:pt x="1524000" y="1783240"/>
                      </a:cubicBezTo>
                      <a:cubicBezTo>
                        <a:pt x="1524000" y="1574924"/>
                        <a:pt x="1692874" y="1406050"/>
                        <a:pt x="1901190" y="1406050"/>
                      </a:cubicBezTo>
                      <a:close/>
                      <a:moveTo>
                        <a:pt x="3444555" y="1"/>
                      </a:moveTo>
                      <a:lnTo>
                        <a:pt x="5223983" y="1779430"/>
                      </a:lnTo>
                      <a:lnTo>
                        <a:pt x="3452333" y="3551081"/>
                      </a:lnTo>
                      <a:lnTo>
                        <a:pt x="3296124" y="3394871"/>
                      </a:lnTo>
                      <a:lnTo>
                        <a:pt x="4919183" y="1771811"/>
                      </a:lnTo>
                      <a:lnTo>
                        <a:pt x="3295964" y="148592"/>
                      </a:lnTo>
                      <a:close/>
                      <a:moveTo>
                        <a:pt x="1779429" y="0"/>
                      </a:moveTo>
                      <a:lnTo>
                        <a:pt x="1928020" y="148590"/>
                      </a:lnTo>
                      <a:lnTo>
                        <a:pt x="304801" y="1771809"/>
                      </a:lnTo>
                      <a:lnTo>
                        <a:pt x="1927860" y="3394869"/>
                      </a:lnTo>
                      <a:lnTo>
                        <a:pt x="1771651" y="3551079"/>
                      </a:lnTo>
                      <a:lnTo>
                        <a:pt x="0" y="177942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375" tIns="45688" rIns="91375" bIns="4568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60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latin typeface="Segoe UI"/>
                    <a:ea typeface="Segoe UI" pitchFamily="34" charset="0"/>
                  </a:endParaRPr>
                </a:p>
              </p:txBody>
            </p:sp>
          </p:grpSp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CB175318-32D6-44BE-87E7-409B62698601}"/>
                  </a:ext>
                </a:extLst>
              </p:cNvPr>
              <p:cNvSpPr/>
              <p:nvPr/>
            </p:nvSpPr>
            <p:spPr bwMode="auto">
              <a:xfrm>
                <a:off x="4686301" y="2581065"/>
                <a:ext cx="2571315" cy="86344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06669" tIns="143366" rIns="89630" bIns="14336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359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ea typeface="Segoe UI" pitchFamily="34" charset="0"/>
                  </a:rPr>
                  <a:t>Knowledge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4B99950-888B-4BCE-9D66-8C744784D700}"/>
                </a:ext>
              </a:extLst>
            </p:cNvPr>
            <p:cNvGrpSpPr/>
            <p:nvPr/>
          </p:nvGrpSpPr>
          <p:grpSpPr>
            <a:xfrm>
              <a:off x="4899914" y="2781894"/>
              <a:ext cx="464717" cy="406291"/>
              <a:chOff x="5690450" y="6269810"/>
              <a:chExt cx="668884" cy="614989"/>
            </a:xfrm>
          </p:grpSpPr>
          <p:sp>
            <p:nvSpPr>
              <p:cNvPr id="37" name="Freeform 6">
                <a:extLst>
                  <a:ext uri="{FF2B5EF4-FFF2-40B4-BE49-F238E27FC236}">
                    <a16:creationId xmlns:a16="http://schemas.microsoft.com/office/drawing/2014/main" id="{EBC45E5F-A9DD-4581-BAF5-8DBC5F90C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1019" y="6721480"/>
                <a:ext cx="75918" cy="25519"/>
              </a:xfrm>
              <a:custGeom>
                <a:avLst/>
                <a:gdLst>
                  <a:gd name="T0" fmla="*/ 0 w 57"/>
                  <a:gd name="T1" fmla="*/ 19 h 19"/>
                  <a:gd name="T2" fmla="*/ 0 w 57"/>
                  <a:gd name="T3" fmla="*/ 14 h 19"/>
                  <a:gd name="T4" fmla="*/ 15 w 57"/>
                  <a:gd name="T5" fmla="*/ 0 h 19"/>
                  <a:gd name="T6" fmla="*/ 57 w 5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" h="19">
                    <a:moveTo>
                      <a:pt x="0" y="19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5" y="0"/>
                    </a:cubicBezTo>
                    <a:cubicBezTo>
                      <a:pt x="57" y="0"/>
                      <a:pt x="57" y="0"/>
                      <a:pt x="57" y="0"/>
                    </a:cubicBezTo>
                  </a:path>
                </a:pathLst>
              </a:cu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" name="Freeform 7">
                <a:extLst>
                  <a:ext uri="{FF2B5EF4-FFF2-40B4-BE49-F238E27FC236}">
                    <a16:creationId xmlns:a16="http://schemas.microsoft.com/office/drawing/2014/main" id="{031F1CBB-6610-40DF-BF59-B32BA7FDD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3463" y="6579851"/>
                <a:ext cx="78470" cy="153750"/>
              </a:xfrm>
              <a:custGeom>
                <a:avLst/>
                <a:gdLst>
                  <a:gd name="T0" fmla="*/ 0 w 59"/>
                  <a:gd name="T1" fmla="*/ 0 h 115"/>
                  <a:gd name="T2" fmla="*/ 0 w 59"/>
                  <a:gd name="T3" fmla="*/ 62 h 115"/>
                  <a:gd name="T4" fmla="*/ 15 w 59"/>
                  <a:gd name="T5" fmla="*/ 77 h 115"/>
                  <a:gd name="T6" fmla="*/ 45 w 59"/>
                  <a:gd name="T7" fmla="*/ 77 h 115"/>
                  <a:gd name="T8" fmla="*/ 59 w 59"/>
                  <a:gd name="T9" fmla="*/ 91 h 115"/>
                  <a:gd name="T10" fmla="*/ 59 w 59"/>
                  <a:gd name="T11" fmla="*/ 11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9" h="115">
                    <a:moveTo>
                      <a:pt x="0" y="0"/>
                    </a:moveTo>
                    <a:cubicBezTo>
                      <a:pt x="0" y="62"/>
                      <a:pt x="0" y="62"/>
                      <a:pt x="0" y="62"/>
                    </a:cubicBezTo>
                    <a:cubicBezTo>
                      <a:pt x="0" y="70"/>
                      <a:pt x="7" y="77"/>
                      <a:pt x="15" y="77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53" y="77"/>
                      <a:pt x="59" y="83"/>
                      <a:pt x="59" y="91"/>
                    </a:cubicBezTo>
                    <a:cubicBezTo>
                      <a:pt x="59" y="115"/>
                      <a:pt x="59" y="115"/>
                      <a:pt x="59" y="115"/>
                    </a:cubicBezTo>
                  </a:path>
                </a:pathLst>
              </a:cu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" name="Freeform 8">
                <a:extLst>
                  <a:ext uri="{FF2B5EF4-FFF2-40B4-BE49-F238E27FC236}">
                    <a16:creationId xmlns:a16="http://schemas.microsoft.com/office/drawing/2014/main" id="{DB1E5C30-DF63-4094-9DF6-A138352B9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1533" y="6456086"/>
                <a:ext cx="107179" cy="46572"/>
              </a:xfrm>
              <a:custGeom>
                <a:avLst/>
                <a:gdLst>
                  <a:gd name="T0" fmla="*/ 0 w 80"/>
                  <a:gd name="T1" fmla="*/ 35 h 35"/>
                  <a:gd name="T2" fmla="*/ 69 w 80"/>
                  <a:gd name="T3" fmla="*/ 35 h 35"/>
                  <a:gd name="T4" fmla="*/ 80 w 80"/>
                  <a:gd name="T5" fmla="*/ 23 h 35"/>
                  <a:gd name="T6" fmla="*/ 80 w 80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35">
                    <a:moveTo>
                      <a:pt x="0" y="35"/>
                    </a:moveTo>
                    <a:cubicBezTo>
                      <a:pt x="69" y="35"/>
                      <a:pt x="69" y="35"/>
                      <a:pt x="69" y="35"/>
                    </a:cubicBezTo>
                    <a:cubicBezTo>
                      <a:pt x="75" y="35"/>
                      <a:pt x="80" y="30"/>
                      <a:pt x="80" y="23"/>
                    </a:cubicBezTo>
                    <a:cubicBezTo>
                      <a:pt x="80" y="0"/>
                      <a:pt x="80" y="0"/>
                      <a:pt x="80" y="0"/>
                    </a:cubicBezTo>
                  </a:path>
                </a:pathLst>
              </a:cu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" name="Oval 9">
                <a:extLst>
                  <a:ext uri="{FF2B5EF4-FFF2-40B4-BE49-F238E27FC236}">
                    <a16:creationId xmlns:a16="http://schemas.microsoft.com/office/drawing/2014/main" id="{F7E670C3-2DDA-487E-9A57-37E42960FB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49759" y="6745722"/>
                <a:ext cx="61883" cy="61883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" name="Oval 11">
                <a:extLst>
                  <a:ext uri="{FF2B5EF4-FFF2-40B4-BE49-F238E27FC236}">
                    <a16:creationId xmlns:a16="http://schemas.microsoft.com/office/drawing/2014/main" id="{A0B786ED-7A92-4F90-9A36-D6DCF73942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310" y="6733601"/>
                <a:ext cx="61883" cy="61883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" name="Oval 12">
                <a:extLst>
                  <a:ext uri="{FF2B5EF4-FFF2-40B4-BE49-F238E27FC236}">
                    <a16:creationId xmlns:a16="http://schemas.microsoft.com/office/drawing/2014/main" id="{88933837-08E3-41E0-A409-90F9C5720D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7451" y="6394203"/>
                <a:ext cx="61883" cy="61883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" name="Freeform 5">
                <a:extLst>
                  <a:ext uri="{FF2B5EF4-FFF2-40B4-BE49-F238E27FC236}">
                    <a16:creationId xmlns:a16="http://schemas.microsoft.com/office/drawing/2014/main" id="{155C7AEB-305A-4068-B902-D145DF761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6938" y="6640458"/>
                <a:ext cx="54865" cy="213719"/>
              </a:xfrm>
              <a:custGeom>
                <a:avLst/>
                <a:gdLst>
                  <a:gd name="T0" fmla="*/ 0 w 41"/>
                  <a:gd name="T1" fmla="*/ 0 h 160"/>
                  <a:gd name="T2" fmla="*/ 0 w 41"/>
                  <a:gd name="T3" fmla="*/ 145 h 160"/>
                  <a:gd name="T4" fmla="*/ 15 w 41"/>
                  <a:gd name="T5" fmla="*/ 160 h 160"/>
                  <a:gd name="T6" fmla="*/ 41 w 41"/>
                  <a:gd name="T7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160">
                    <a:moveTo>
                      <a:pt x="0" y="0"/>
                    </a:moveTo>
                    <a:cubicBezTo>
                      <a:pt x="0" y="145"/>
                      <a:pt x="0" y="145"/>
                      <a:pt x="0" y="145"/>
                    </a:cubicBezTo>
                    <a:cubicBezTo>
                      <a:pt x="0" y="154"/>
                      <a:pt x="6" y="160"/>
                      <a:pt x="15" y="160"/>
                    </a:cubicBezTo>
                    <a:cubicBezTo>
                      <a:pt x="41" y="160"/>
                      <a:pt x="41" y="160"/>
                      <a:pt x="41" y="160"/>
                    </a:cubicBezTo>
                  </a:path>
                </a:pathLst>
              </a:cu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" name="Oval 10">
                <a:extLst>
                  <a:ext uri="{FF2B5EF4-FFF2-40B4-BE49-F238E27FC236}">
                    <a16:creationId xmlns:a16="http://schemas.microsoft.com/office/drawing/2014/main" id="{12104097-4856-4CDC-A55C-4F4C1C6D96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1803" y="6823554"/>
                <a:ext cx="61245" cy="61245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48" name="Magnifying_Glass">
                <a:extLst>
                  <a:ext uri="{FF2B5EF4-FFF2-40B4-BE49-F238E27FC236}">
                    <a16:creationId xmlns:a16="http://schemas.microsoft.com/office/drawing/2014/main" id="{D2C146EA-78C1-4101-9C90-BB8F8D16FAF5}"/>
                  </a:ext>
                </a:extLst>
              </p:cNvPr>
              <p:cNvGrpSpPr/>
              <p:nvPr/>
            </p:nvGrpSpPr>
            <p:grpSpPr>
              <a:xfrm flipH="1">
                <a:off x="5690450" y="6269810"/>
                <a:ext cx="562017" cy="562017"/>
                <a:chOff x="5741782" y="1706805"/>
                <a:chExt cx="657225" cy="657225"/>
              </a:xfrm>
            </p:grpSpPr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F9BC96D9-9A4B-494E-A1B8-F1725F9E67BF}"/>
                    </a:ext>
                  </a:extLst>
                </p:cNvPr>
                <p:cNvSpPr/>
                <p:nvPr/>
              </p:nvSpPr>
              <p:spPr>
                <a:xfrm>
                  <a:off x="5769524" y="1733237"/>
                  <a:ext cx="390525" cy="3905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0525" h="390525">
                      <a:moveTo>
                        <a:pt x="390049" y="198596"/>
                      </a:moveTo>
                      <a:cubicBezTo>
                        <a:pt x="390049" y="304333"/>
                        <a:pt x="304333" y="390049"/>
                        <a:pt x="198596" y="390049"/>
                      </a:cubicBezTo>
                      <a:cubicBezTo>
                        <a:pt x="92860" y="390049"/>
                        <a:pt x="7144" y="304333"/>
                        <a:pt x="7144" y="198596"/>
                      </a:cubicBezTo>
                      <a:cubicBezTo>
                        <a:pt x="7144" y="92860"/>
                        <a:pt x="92860" y="7144"/>
                        <a:pt x="198596" y="7144"/>
                      </a:cubicBezTo>
                      <a:cubicBezTo>
                        <a:pt x="304333" y="7144"/>
                        <a:pt x="390049" y="92860"/>
                        <a:pt x="390049" y="198596"/>
                      </a:cubicBezTo>
                      <a:close/>
                    </a:path>
                  </a:pathLst>
                </a:custGeom>
                <a:solidFill>
                  <a:srgbClr val="FFFFFF">
                    <a:lumMod val="85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defTabSz="914192">
                    <a:defRPr/>
                  </a:pPr>
                  <a:endParaRPr lang="en-US" kern="0" dirty="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53F50329-3B82-4762-873D-B82CB26D3468}"/>
                    </a:ext>
                  </a:extLst>
                </p:cNvPr>
                <p:cNvSpPr/>
                <p:nvPr/>
              </p:nvSpPr>
              <p:spPr>
                <a:xfrm>
                  <a:off x="5741782" y="1706805"/>
                  <a:ext cx="657225" cy="6572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57225" h="657225">
                      <a:moveTo>
                        <a:pt x="649248" y="579358"/>
                      </a:moveTo>
                      <a:lnTo>
                        <a:pt x="464463" y="395526"/>
                      </a:lnTo>
                      <a:cubicBezTo>
                        <a:pt x="459701" y="390763"/>
                        <a:pt x="453033" y="390763"/>
                        <a:pt x="448271" y="395526"/>
                      </a:cubicBezTo>
                      <a:lnTo>
                        <a:pt x="439698" y="404098"/>
                      </a:lnTo>
                      <a:lnTo>
                        <a:pt x="395883" y="360283"/>
                      </a:lnTo>
                      <a:cubicBezTo>
                        <a:pt x="464463" y="274558"/>
                        <a:pt x="458748" y="149781"/>
                        <a:pt x="379691" y="70723"/>
                      </a:cubicBezTo>
                      <a:cubicBezTo>
                        <a:pt x="294918" y="-14049"/>
                        <a:pt x="156806" y="-14049"/>
                        <a:pt x="71081" y="70723"/>
                      </a:cubicBezTo>
                      <a:cubicBezTo>
                        <a:pt x="-14644" y="155496"/>
                        <a:pt x="-13692" y="293608"/>
                        <a:pt x="71081" y="379333"/>
                      </a:cubicBezTo>
                      <a:cubicBezTo>
                        <a:pt x="150138" y="458391"/>
                        <a:pt x="274916" y="464106"/>
                        <a:pt x="360641" y="395526"/>
                      </a:cubicBezTo>
                      <a:lnTo>
                        <a:pt x="404456" y="439341"/>
                      </a:lnTo>
                      <a:lnTo>
                        <a:pt x="395883" y="447913"/>
                      </a:lnTo>
                      <a:cubicBezTo>
                        <a:pt x="391121" y="452676"/>
                        <a:pt x="391121" y="459343"/>
                        <a:pt x="395883" y="464106"/>
                      </a:cubicBezTo>
                      <a:lnTo>
                        <a:pt x="579716" y="647938"/>
                      </a:lnTo>
                      <a:cubicBezTo>
                        <a:pt x="584478" y="652701"/>
                        <a:pt x="591146" y="652701"/>
                        <a:pt x="595908" y="647938"/>
                      </a:cubicBezTo>
                      <a:lnTo>
                        <a:pt x="647343" y="596503"/>
                      </a:lnTo>
                      <a:cubicBezTo>
                        <a:pt x="653058" y="591741"/>
                        <a:pt x="653058" y="584121"/>
                        <a:pt x="649248" y="579358"/>
                      </a:cubicBezTo>
                      <a:close/>
                      <a:moveTo>
                        <a:pt x="104418" y="346948"/>
                      </a:moveTo>
                      <a:cubicBezTo>
                        <a:pt x="36791" y="279321"/>
                        <a:pt x="36791" y="170736"/>
                        <a:pt x="104418" y="103108"/>
                      </a:cubicBezTo>
                      <a:cubicBezTo>
                        <a:pt x="172046" y="35481"/>
                        <a:pt x="280631" y="35481"/>
                        <a:pt x="348258" y="103108"/>
                      </a:cubicBezTo>
                      <a:cubicBezTo>
                        <a:pt x="415886" y="170736"/>
                        <a:pt x="415886" y="279321"/>
                        <a:pt x="348258" y="346948"/>
                      </a:cubicBezTo>
                      <a:cubicBezTo>
                        <a:pt x="280631" y="414576"/>
                        <a:pt x="172046" y="414576"/>
                        <a:pt x="104418" y="346948"/>
                      </a:cubicBezTo>
                      <a:close/>
                    </a:path>
                  </a:pathLst>
                </a:custGeom>
                <a:solidFill>
                  <a:srgbClr val="005A9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defTabSz="914192">
                    <a:defRPr/>
                  </a:pPr>
                  <a:endParaRPr lang="en-US" kern="0" dirty="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F335A353-A940-4194-AF64-6D0DCF69CB9B}"/>
                    </a:ext>
                  </a:extLst>
                </p:cNvPr>
                <p:cNvSpPr/>
                <p:nvPr/>
              </p:nvSpPr>
              <p:spPr>
                <a:xfrm>
                  <a:off x="5913352" y="1788482"/>
                  <a:ext cx="104775" cy="10477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4775" h="104775">
                      <a:moveTo>
                        <a:pt x="98584" y="52864"/>
                      </a:moveTo>
                      <a:cubicBezTo>
                        <a:pt x="98584" y="78114"/>
                        <a:pt x="78114" y="98584"/>
                        <a:pt x="52864" y="98584"/>
                      </a:cubicBezTo>
                      <a:cubicBezTo>
                        <a:pt x="27613" y="98584"/>
                        <a:pt x="7144" y="78114"/>
                        <a:pt x="7144" y="52864"/>
                      </a:cubicBezTo>
                      <a:cubicBezTo>
                        <a:pt x="7144" y="27613"/>
                        <a:pt x="27613" y="7144"/>
                        <a:pt x="52864" y="7144"/>
                      </a:cubicBezTo>
                      <a:cubicBezTo>
                        <a:pt x="78114" y="7144"/>
                        <a:pt x="98584" y="27613"/>
                        <a:pt x="98584" y="528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defTabSz="914192">
                    <a:defRPr/>
                  </a:pPr>
                  <a:endParaRPr lang="en-US" kern="0" dirty="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538CE06A-7C52-4F30-98FA-63BF6922AE95}"/>
                    </a:ext>
                  </a:extLst>
                </p:cNvPr>
                <p:cNvSpPr/>
                <p:nvPr/>
              </p:nvSpPr>
              <p:spPr>
                <a:xfrm>
                  <a:off x="6128617" y="2121857"/>
                  <a:ext cx="266700" cy="2381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6700" h="238125">
                      <a:moveTo>
                        <a:pt x="10001" y="32861"/>
                      </a:moveTo>
                      <a:lnTo>
                        <a:pt x="35719" y="7144"/>
                      </a:lnTo>
                      <a:lnTo>
                        <a:pt x="214789" y="186214"/>
                      </a:lnTo>
                      <a:cubicBezTo>
                        <a:pt x="216694" y="188119"/>
                        <a:pt x="219551" y="188119"/>
                        <a:pt x="221456" y="186214"/>
                      </a:cubicBezTo>
                      <a:lnTo>
                        <a:pt x="251936" y="155734"/>
                      </a:lnTo>
                      <a:lnTo>
                        <a:pt x="261461" y="165259"/>
                      </a:lnTo>
                      <a:cubicBezTo>
                        <a:pt x="265271" y="169069"/>
                        <a:pt x="265271" y="175736"/>
                        <a:pt x="261461" y="180499"/>
                      </a:cubicBezTo>
                      <a:lnTo>
                        <a:pt x="208121" y="233839"/>
                      </a:lnTo>
                      <a:cubicBezTo>
                        <a:pt x="204311" y="237649"/>
                        <a:pt x="197644" y="237649"/>
                        <a:pt x="192881" y="233839"/>
                      </a:cubicBezTo>
                      <a:lnTo>
                        <a:pt x="10001" y="48101"/>
                      </a:lnTo>
                      <a:cubicBezTo>
                        <a:pt x="6191" y="44291"/>
                        <a:pt x="6191" y="36671"/>
                        <a:pt x="10001" y="32861"/>
                      </a:cubicBezTo>
                      <a:close/>
                    </a:path>
                  </a:pathLst>
                </a:custGeom>
                <a:solidFill>
                  <a:srgbClr val="163E6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defTabSz="914192">
                    <a:defRPr/>
                  </a:pPr>
                  <a:endParaRPr lang="en-US" kern="0" dirty="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3536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0" grpId="0"/>
      <p:bldP spid="25" grpId="0"/>
      <p:bldP spid="5" grpId="0" animBg="1"/>
      <p:bldP spid="4" grpId="0" animBg="1"/>
      <p:bldP spid="10" grpId="0" animBg="1"/>
      <p:bldP spid="28" grpId="0"/>
      <p:bldP spid="30" grpId="0" animBg="1"/>
      <p:bldP spid="3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F06554-117B-4030-AFC8-B582CCE2C6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87"/>
            <a:ext cx="12192000" cy="685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51513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880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/>
          <p:cNvCxnSpPr/>
          <p:nvPr/>
        </p:nvCxnSpPr>
        <p:spPr>
          <a:xfrm>
            <a:off x="866" y="2474599"/>
            <a:ext cx="12190271" cy="0"/>
          </a:xfrm>
          <a:prstGeom prst="line">
            <a:avLst/>
          </a:prstGeom>
          <a:noFill/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 bwMode="auto">
          <a:xfrm>
            <a:off x="5459579" y="3602789"/>
            <a:ext cx="6463183" cy="32864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rtana</a:t>
            </a:r>
          </a:p>
        </p:txBody>
      </p:sp>
      <p:sp>
        <p:nvSpPr>
          <p:cNvPr id="67" name="Oval 66"/>
          <p:cNvSpPr/>
          <p:nvPr/>
        </p:nvSpPr>
        <p:spPr bwMode="auto">
          <a:xfrm>
            <a:off x="6034830" y="2412357"/>
            <a:ext cx="124486" cy="124486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70" name="Oval 69"/>
          <p:cNvSpPr/>
          <p:nvPr/>
        </p:nvSpPr>
        <p:spPr bwMode="auto">
          <a:xfrm>
            <a:off x="8610821" y="2412357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81" name="Oval 80"/>
          <p:cNvSpPr/>
          <p:nvPr/>
        </p:nvSpPr>
        <p:spPr bwMode="auto">
          <a:xfrm>
            <a:off x="11199713" y="2412357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133" name="Rectangle 132"/>
          <p:cNvSpPr/>
          <p:nvPr/>
        </p:nvSpPr>
        <p:spPr bwMode="auto">
          <a:xfrm>
            <a:off x="4254540" y="2918451"/>
            <a:ext cx="5456729" cy="37345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20" kern="0" dirty="0">
                <a:solidFill>
                  <a:srgbClr val="FF0000"/>
                </a:solidFill>
                <a:latin typeface="Segoe UI Semibold"/>
                <a:cs typeface="Segoe UI Semilight" panose="020B0402040204020203" pitchFamily="34" charset="0"/>
              </a:rPr>
              <a:t>Use</a:t>
            </a:r>
            <a:r>
              <a:rPr lang="en-US" sz="3920" kern="0" dirty="0">
                <a:solidFill>
                  <a:srgbClr val="0D0D0D"/>
                </a:solidFill>
                <a:latin typeface="Segoe UI Semibold"/>
                <a:cs typeface="Segoe UI Semilight" panose="020B0402040204020203" pitchFamily="34" charset="0"/>
              </a:rPr>
              <a:t> AI - Agent</a:t>
            </a:r>
          </a:p>
        </p:txBody>
      </p:sp>
      <p:grpSp>
        <p:nvGrpSpPr>
          <p:cNvPr id="144" name="Group 14"/>
          <p:cNvGrpSpPr>
            <a:grpSpLocks noChangeAspect="1"/>
          </p:cNvGrpSpPr>
          <p:nvPr/>
        </p:nvGrpSpPr>
        <p:grpSpPr bwMode="auto">
          <a:xfrm>
            <a:off x="8545240" y="1672722"/>
            <a:ext cx="255649" cy="394798"/>
            <a:chOff x="2912" y="2002"/>
            <a:chExt cx="158" cy="244"/>
          </a:xfrm>
        </p:grpSpPr>
        <p:sp>
          <p:nvSpPr>
            <p:cNvPr id="145" name="Rectangle 15"/>
            <p:cNvSpPr>
              <a:spLocks noChangeArrowheads="1"/>
            </p:cNvSpPr>
            <p:nvPr/>
          </p:nvSpPr>
          <p:spPr bwMode="auto">
            <a:xfrm>
              <a:off x="2912" y="2002"/>
              <a:ext cx="67" cy="65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6" name="Rectangle 16"/>
            <p:cNvSpPr>
              <a:spLocks noChangeArrowheads="1"/>
            </p:cNvSpPr>
            <p:nvPr/>
          </p:nvSpPr>
          <p:spPr bwMode="auto">
            <a:xfrm>
              <a:off x="3004" y="2002"/>
              <a:ext cx="66" cy="65"/>
            </a:xfrm>
            <a:prstGeom prst="rect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7" name="Rectangle 17"/>
            <p:cNvSpPr>
              <a:spLocks noChangeArrowheads="1"/>
            </p:cNvSpPr>
            <p:nvPr/>
          </p:nvSpPr>
          <p:spPr bwMode="auto">
            <a:xfrm>
              <a:off x="2912" y="2180"/>
              <a:ext cx="67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8" name="Rectangle 18"/>
            <p:cNvSpPr>
              <a:spLocks noChangeArrowheads="1"/>
            </p:cNvSpPr>
            <p:nvPr/>
          </p:nvSpPr>
          <p:spPr bwMode="auto">
            <a:xfrm>
              <a:off x="2912" y="2091"/>
              <a:ext cx="158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grpSp>
        <p:nvGrpSpPr>
          <p:cNvPr id="149" name="Group 27"/>
          <p:cNvGrpSpPr>
            <a:grpSpLocks noChangeAspect="1"/>
          </p:cNvGrpSpPr>
          <p:nvPr/>
        </p:nvGrpSpPr>
        <p:grpSpPr bwMode="auto">
          <a:xfrm>
            <a:off x="11052289" y="1682986"/>
            <a:ext cx="419334" cy="374267"/>
            <a:chOff x="3810" y="2105"/>
            <a:chExt cx="214" cy="191"/>
          </a:xfrm>
        </p:grpSpPr>
        <p:sp>
          <p:nvSpPr>
            <p:cNvPr id="150" name="Freeform 28"/>
            <p:cNvSpPr>
              <a:spLocks/>
            </p:cNvSpPr>
            <p:nvPr/>
          </p:nvSpPr>
          <p:spPr bwMode="auto">
            <a:xfrm>
              <a:off x="3810" y="2105"/>
              <a:ext cx="214" cy="191"/>
            </a:xfrm>
            <a:custGeom>
              <a:avLst/>
              <a:gdLst>
                <a:gd name="T0" fmla="*/ 214 w 214"/>
                <a:gd name="T1" fmla="*/ 120 h 191"/>
                <a:gd name="T2" fmla="*/ 214 w 214"/>
                <a:gd name="T3" fmla="*/ 0 h 191"/>
                <a:gd name="T4" fmla="*/ 0 w 214"/>
                <a:gd name="T5" fmla="*/ 0 h 191"/>
                <a:gd name="T6" fmla="*/ 0 w 214"/>
                <a:gd name="T7" fmla="*/ 145 h 191"/>
                <a:gd name="T8" fmla="*/ 29 w 214"/>
                <a:gd name="T9" fmla="*/ 145 h 191"/>
                <a:gd name="T10" fmla="*/ 29 w 214"/>
                <a:gd name="T11" fmla="*/ 191 h 191"/>
                <a:gd name="T12" fmla="*/ 75 w 214"/>
                <a:gd name="T13" fmla="*/ 145 h 191"/>
                <a:gd name="T14" fmla="*/ 121 w 214"/>
                <a:gd name="T15" fmla="*/ 14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91">
                  <a:moveTo>
                    <a:pt x="214" y="120"/>
                  </a:moveTo>
                  <a:lnTo>
                    <a:pt x="214" y="0"/>
                  </a:lnTo>
                  <a:lnTo>
                    <a:pt x="0" y="0"/>
                  </a:lnTo>
                  <a:lnTo>
                    <a:pt x="0" y="145"/>
                  </a:lnTo>
                  <a:lnTo>
                    <a:pt x="29" y="145"/>
                  </a:lnTo>
                  <a:lnTo>
                    <a:pt x="29" y="191"/>
                  </a:lnTo>
                  <a:lnTo>
                    <a:pt x="75" y="145"/>
                  </a:lnTo>
                  <a:lnTo>
                    <a:pt x="121" y="145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1" name="Line 29"/>
            <p:cNvSpPr>
              <a:spLocks noChangeShapeType="1"/>
            </p:cNvSpPr>
            <p:nvPr/>
          </p:nvSpPr>
          <p:spPr bwMode="auto">
            <a:xfrm>
              <a:off x="3931" y="2250"/>
              <a:ext cx="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2" name="Freeform 30"/>
            <p:cNvSpPr>
              <a:spLocks/>
            </p:cNvSpPr>
            <p:nvPr/>
          </p:nvSpPr>
          <p:spPr bwMode="auto">
            <a:xfrm>
              <a:off x="3903" y="2221"/>
              <a:ext cx="121" cy="29"/>
            </a:xfrm>
            <a:custGeom>
              <a:avLst/>
              <a:gdLst>
                <a:gd name="T0" fmla="*/ 0 w 93"/>
                <a:gd name="T1" fmla="*/ 25 h 25"/>
                <a:gd name="T2" fmla="*/ 93 w 93"/>
                <a:gd name="T3" fmla="*/ 25 h 25"/>
                <a:gd name="T4" fmla="*/ 93 w 93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25">
                  <a:moveTo>
                    <a:pt x="0" y="25"/>
                  </a:moveTo>
                  <a:lnTo>
                    <a:pt x="93" y="25"/>
                  </a:lnTo>
                  <a:lnTo>
                    <a:pt x="93" y="0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3" name="Freeform 31"/>
            <p:cNvSpPr>
              <a:spLocks/>
            </p:cNvSpPr>
            <p:nvPr/>
          </p:nvSpPr>
          <p:spPr bwMode="auto">
            <a:xfrm>
              <a:off x="3865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4" name="Freeform 32"/>
            <p:cNvSpPr>
              <a:spLocks/>
            </p:cNvSpPr>
            <p:nvPr/>
          </p:nvSpPr>
          <p:spPr bwMode="auto">
            <a:xfrm>
              <a:off x="3911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5" name="Freeform 33"/>
            <p:cNvSpPr>
              <a:spLocks/>
            </p:cNvSpPr>
            <p:nvPr/>
          </p:nvSpPr>
          <p:spPr bwMode="auto">
            <a:xfrm>
              <a:off x="3958" y="2172"/>
              <a:ext cx="10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56" name="Rectangle 155"/>
          <p:cNvSpPr/>
          <p:nvPr/>
        </p:nvSpPr>
        <p:spPr bwMode="auto">
          <a:xfrm>
            <a:off x="8262053" y="1406916"/>
            <a:ext cx="3929084" cy="97099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33" name="Group 32"/>
          <p:cNvGrpSpPr/>
          <p:nvPr/>
        </p:nvGrpSpPr>
        <p:grpSpPr>
          <a:xfrm flipV="1">
            <a:off x="5874503" y="1648184"/>
            <a:ext cx="419337" cy="419335"/>
            <a:chOff x="1990795" y="2892107"/>
            <a:chExt cx="557672" cy="557672"/>
          </a:xfrm>
          <a:noFill/>
        </p:grpSpPr>
        <p:sp>
          <p:nvSpPr>
            <p:cNvPr id="34" name="Freeform: Shape 33"/>
            <p:cNvSpPr/>
            <p:nvPr/>
          </p:nvSpPr>
          <p:spPr bwMode="auto">
            <a:xfrm>
              <a:off x="2041470" y="2942782"/>
              <a:ext cx="456322" cy="456322"/>
            </a:xfrm>
            <a:custGeom>
              <a:avLst/>
              <a:gdLst>
                <a:gd name="connsiteX0" fmla="*/ 991130 w 1982260"/>
                <a:gd name="connsiteY0" fmla="*/ 224367 h 1982260"/>
                <a:gd name="connsiteX1" fmla="*/ 224367 w 1982260"/>
                <a:gd name="connsiteY1" fmla="*/ 991130 h 1982260"/>
                <a:gd name="connsiteX2" fmla="*/ 991130 w 1982260"/>
                <a:gd name="connsiteY2" fmla="*/ 1757893 h 1982260"/>
                <a:gd name="connsiteX3" fmla="*/ 1757893 w 1982260"/>
                <a:gd name="connsiteY3" fmla="*/ 991130 h 1982260"/>
                <a:gd name="connsiteX4" fmla="*/ 991130 w 1982260"/>
                <a:gd name="connsiteY4" fmla="*/ 224367 h 1982260"/>
                <a:gd name="connsiteX5" fmla="*/ 991130 w 1982260"/>
                <a:gd name="connsiteY5" fmla="*/ 0 h 1982260"/>
                <a:gd name="connsiteX6" fmla="*/ 1982260 w 1982260"/>
                <a:gd name="connsiteY6" fmla="*/ 991130 h 1982260"/>
                <a:gd name="connsiteX7" fmla="*/ 991130 w 1982260"/>
                <a:gd name="connsiteY7" fmla="*/ 1982260 h 1982260"/>
                <a:gd name="connsiteX8" fmla="*/ 0 w 1982260"/>
                <a:gd name="connsiteY8" fmla="*/ 991130 h 1982260"/>
                <a:gd name="connsiteX9" fmla="*/ 991130 w 1982260"/>
                <a:gd name="connsiteY9" fmla="*/ 0 h 198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2260" h="1982260">
                  <a:moveTo>
                    <a:pt x="991130" y="224367"/>
                  </a:moveTo>
                  <a:cubicBezTo>
                    <a:pt x="567658" y="224367"/>
                    <a:pt x="224367" y="567658"/>
                    <a:pt x="224367" y="991130"/>
                  </a:cubicBezTo>
                  <a:cubicBezTo>
                    <a:pt x="224367" y="1414602"/>
                    <a:pt x="567658" y="1757893"/>
                    <a:pt x="991130" y="1757893"/>
                  </a:cubicBezTo>
                  <a:cubicBezTo>
                    <a:pt x="1414602" y="1757893"/>
                    <a:pt x="1757893" y="1414602"/>
                    <a:pt x="1757893" y="991130"/>
                  </a:cubicBezTo>
                  <a:cubicBezTo>
                    <a:pt x="1757893" y="567658"/>
                    <a:pt x="1414602" y="224367"/>
                    <a:pt x="991130" y="224367"/>
                  </a:cubicBezTo>
                  <a:close/>
                  <a:moveTo>
                    <a:pt x="991130" y="0"/>
                  </a:moveTo>
                  <a:cubicBezTo>
                    <a:pt x="1538516" y="0"/>
                    <a:pt x="1982260" y="443744"/>
                    <a:pt x="1982260" y="991130"/>
                  </a:cubicBezTo>
                  <a:cubicBezTo>
                    <a:pt x="1982260" y="1538516"/>
                    <a:pt x="1538516" y="1982260"/>
                    <a:pt x="991130" y="1982260"/>
                  </a:cubicBezTo>
                  <a:cubicBezTo>
                    <a:pt x="443744" y="1982260"/>
                    <a:pt x="0" y="1538516"/>
                    <a:pt x="0" y="991130"/>
                  </a:cubicBezTo>
                  <a:cubicBezTo>
                    <a:pt x="0" y="443744"/>
                    <a:pt x="443744" y="0"/>
                    <a:pt x="991130" y="0"/>
                  </a:cubicBezTo>
                  <a:close/>
                </a:path>
              </a:pathLst>
            </a:custGeom>
            <a:grpFill/>
            <a:ln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35" name="Freeform: Shape 34"/>
            <p:cNvSpPr/>
            <p:nvPr/>
          </p:nvSpPr>
          <p:spPr bwMode="auto">
            <a:xfrm>
              <a:off x="1990795" y="2892107"/>
              <a:ext cx="557672" cy="557672"/>
            </a:xfrm>
            <a:custGeom>
              <a:avLst/>
              <a:gdLst>
                <a:gd name="connsiteX0" fmla="*/ 1211263 w 2422526"/>
                <a:gd name="connsiteY0" fmla="*/ 232833 h 2422526"/>
                <a:gd name="connsiteX1" fmla="*/ 232833 w 2422526"/>
                <a:gd name="connsiteY1" fmla="*/ 1211263 h 2422526"/>
                <a:gd name="connsiteX2" fmla="*/ 1211263 w 2422526"/>
                <a:gd name="connsiteY2" fmla="*/ 2189693 h 2422526"/>
                <a:gd name="connsiteX3" fmla="*/ 2189693 w 2422526"/>
                <a:gd name="connsiteY3" fmla="*/ 1211263 h 2422526"/>
                <a:gd name="connsiteX4" fmla="*/ 1211263 w 2422526"/>
                <a:gd name="connsiteY4" fmla="*/ 232833 h 2422526"/>
                <a:gd name="connsiteX5" fmla="*/ 1211263 w 2422526"/>
                <a:gd name="connsiteY5" fmla="*/ 0 h 2422526"/>
                <a:gd name="connsiteX6" fmla="*/ 2422526 w 2422526"/>
                <a:gd name="connsiteY6" fmla="*/ 1211263 h 2422526"/>
                <a:gd name="connsiteX7" fmla="*/ 1211263 w 2422526"/>
                <a:gd name="connsiteY7" fmla="*/ 2422526 h 2422526"/>
                <a:gd name="connsiteX8" fmla="*/ 0 w 2422526"/>
                <a:gd name="connsiteY8" fmla="*/ 1211263 h 2422526"/>
                <a:gd name="connsiteX9" fmla="*/ 1211263 w 2422526"/>
                <a:gd name="connsiteY9" fmla="*/ 0 h 242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2526" h="2422526">
                  <a:moveTo>
                    <a:pt x="1211263" y="232833"/>
                  </a:moveTo>
                  <a:cubicBezTo>
                    <a:pt x="670891" y="232833"/>
                    <a:pt x="232833" y="670891"/>
                    <a:pt x="232833" y="1211263"/>
                  </a:cubicBezTo>
                  <a:cubicBezTo>
                    <a:pt x="232833" y="1751635"/>
                    <a:pt x="670891" y="2189693"/>
                    <a:pt x="1211263" y="2189693"/>
                  </a:cubicBezTo>
                  <a:cubicBezTo>
                    <a:pt x="1751635" y="2189693"/>
                    <a:pt x="2189693" y="1751635"/>
                    <a:pt x="2189693" y="1211263"/>
                  </a:cubicBezTo>
                  <a:cubicBezTo>
                    <a:pt x="2189693" y="670891"/>
                    <a:pt x="1751635" y="232833"/>
                    <a:pt x="1211263" y="232833"/>
                  </a:cubicBezTo>
                  <a:close/>
                  <a:moveTo>
                    <a:pt x="1211263" y="0"/>
                  </a:moveTo>
                  <a:cubicBezTo>
                    <a:pt x="1880225" y="0"/>
                    <a:pt x="2422526" y="542301"/>
                    <a:pt x="2422526" y="1211263"/>
                  </a:cubicBezTo>
                  <a:cubicBezTo>
                    <a:pt x="2422526" y="1880225"/>
                    <a:pt x="1880225" y="2422526"/>
                    <a:pt x="1211263" y="2422526"/>
                  </a:cubicBezTo>
                  <a:cubicBezTo>
                    <a:pt x="542301" y="2422526"/>
                    <a:pt x="0" y="1880225"/>
                    <a:pt x="0" y="1211263"/>
                  </a:cubicBezTo>
                  <a:cubicBezTo>
                    <a:pt x="0" y="542301"/>
                    <a:pt x="542301" y="0"/>
                    <a:pt x="1211263" y="0"/>
                  </a:cubicBezTo>
                  <a:close/>
                </a:path>
              </a:pathLst>
            </a:custGeom>
            <a:grpFill/>
            <a:ln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30" name="Rectangle 29"/>
          <p:cNvSpPr/>
          <p:nvPr/>
        </p:nvSpPr>
        <p:spPr bwMode="auto">
          <a:xfrm>
            <a:off x="5497873" y="4029213"/>
            <a:ext cx="4648026" cy="77258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67" kern="0" spc="49" dirty="0">
                <a:solidFill>
                  <a:srgbClr val="1A1A1A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,000+ </a:t>
            </a:r>
            <a:r>
              <a:rPr lang="en-US" sz="1567" kern="0" spc="49" dirty="0">
                <a:solidFill>
                  <a:srgbClr val="1A1A1A"/>
                </a:solidFill>
                <a:latin typeface="Segoe UI"/>
                <a:cs typeface="Segoe UI Semibold" panose="020B0702040204020203" pitchFamily="34" charset="0"/>
              </a:rPr>
              <a:t>skills and knowledge, </a:t>
            </a:r>
            <a:r>
              <a:rPr lang="en-US" sz="1567" kern="0" spc="49" dirty="0">
                <a:solidFill>
                  <a:srgbClr val="1A1A1A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33 million </a:t>
            </a:r>
            <a:r>
              <a:rPr lang="en-US" sz="1567" kern="0" spc="49" dirty="0">
                <a:solidFill>
                  <a:srgbClr val="1A1A1A"/>
                </a:solidFill>
                <a:latin typeface="Segoe UI"/>
                <a:cs typeface="Segoe UI Semilight" panose="020B0402040204020203" pitchFamily="34" charset="0"/>
              </a:rPr>
              <a:t>users | </a:t>
            </a:r>
            <a:r>
              <a:rPr lang="en-US" sz="1567" kern="0" spc="49" dirty="0">
                <a:solidFill>
                  <a:srgbClr val="1A1A1A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2 billion </a:t>
            </a:r>
            <a:r>
              <a:rPr lang="en-US" sz="1567" kern="0" spc="49" dirty="0">
                <a:solidFill>
                  <a:srgbClr val="1A1A1A"/>
                </a:solidFill>
                <a:latin typeface="Segoe UI"/>
                <a:cs typeface="Segoe UI Semilight" panose="020B0402040204020203" pitchFamily="34" charset="0"/>
              </a:rPr>
              <a:t>questions</a:t>
            </a:r>
          </a:p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67" kern="0" spc="49" dirty="0">
              <a:solidFill>
                <a:srgbClr val="1A1A1A"/>
              </a:solidFill>
              <a:latin typeface="Segoe UI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957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865" y="487"/>
            <a:ext cx="12190271" cy="6857028"/>
            <a:chOff x="0" y="0"/>
            <a:chExt cx="12192000" cy="6858001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57383"/>
              <a:ext cx="2965938" cy="47006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986919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7" name="Line"/>
          <p:cNvCxnSpPr/>
          <p:nvPr/>
        </p:nvCxnSpPr>
        <p:spPr>
          <a:xfrm>
            <a:off x="866" y="2478229"/>
            <a:ext cx="13052156" cy="0"/>
          </a:xfrm>
          <a:prstGeom prst="line">
            <a:avLst/>
          </a:prstGeom>
          <a:noFill/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/>
          <p:cNvSpPr/>
          <p:nvPr/>
        </p:nvSpPr>
        <p:spPr bwMode="auto">
          <a:xfrm>
            <a:off x="3642076" y="2898382"/>
            <a:ext cx="6266135" cy="37345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20" kern="0" dirty="0">
                <a:solidFill>
                  <a:srgbClr val="FF0000"/>
                </a:solidFill>
                <a:latin typeface="Segoe UI Semibold"/>
                <a:cs typeface="Segoe UI Semilight" panose="020B0402040204020203" pitchFamily="34" charset="0"/>
              </a:rPr>
              <a:t>Use</a:t>
            </a:r>
            <a:r>
              <a:rPr lang="en-US" sz="3920" kern="0" dirty="0">
                <a:solidFill>
                  <a:srgbClr val="0D0D0D"/>
                </a:solidFill>
                <a:latin typeface="Segoe UI Semibold"/>
                <a:cs typeface="Segoe UI Semilight" panose="020B0402040204020203" pitchFamily="34" charset="0"/>
              </a:rPr>
              <a:t> AI - Applications</a:t>
            </a:r>
          </a:p>
        </p:txBody>
      </p:sp>
      <p:grpSp>
        <p:nvGrpSpPr>
          <p:cNvPr id="94" name="Group 93"/>
          <p:cNvGrpSpPr/>
          <p:nvPr/>
        </p:nvGrpSpPr>
        <p:grpSpPr>
          <a:xfrm>
            <a:off x="3242751" y="1552899"/>
            <a:ext cx="546632" cy="546632"/>
            <a:chOff x="1990795" y="2892107"/>
            <a:chExt cx="557672" cy="557672"/>
          </a:xfrm>
          <a:noFill/>
        </p:grpSpPr>
        <p:sp>
          <p:nvSpPr>
            <p:cNvPr id="126" name="Freeform: Shape 125"/>
            <p:cNvSpPr/>
            <p:nvPr/>
          </p:nvSpPr>
          <p:spPr bwMode="auto">
            <a:xfrm>
              <a:off x="2041470" y="2942782"/>
              <a:ext cx="456322" cy="456322"/>
            </a:xfrm>
            <a:custGeom>
              <a:avLst/>
              <a:gdLst>
                <a:gd name="connsiteX0" fmla="*/ 991130 w 1982260"/>
                <a:gd name="connsiteY0" fmla="*/ 224367 h 1982260"/>
                <a:gd name="connsiteX1" fmla="*/ 224367 w 1982260"/>
                <a:gd name="connsiteY1" fmla="*/ 991130 h 1982260"/>
                <a:gd name="connsiteX2" fmla="*/ 991130 w 1982260"/>
                <a:gd name="connsiteY2" fmla="*/ 1757893 h 1982260"/>
                <a:gd name="connsiteX3" fmla="*/ 1757893 w 1982260"/>
                <a:gd name="connsiteY3" fmla="*/ 991130 h 1982260"/>
                <a:gd name="connsiteX4" fmla="*/ 991130 w 1982260"/>
                <a:gd name="connsiteY4" fmla="*/ 224367 h 1982260"/>
                <a:gd name="connsiteX5" fmla="*/ 991130 w 1982260"/>
                <a:gd name="connsiteY5" fmla="*/ 0 h 1982260"/>
                <a:gd name="connsiteX6" fmla="*/ 1982260 w 1982260"/>
                <a:gd name="connsiteY6" fmla="*/ 991130 h 1982260"/>
                <a:gd name="connsiteX7" fmla="*/ 991130 w 1982260"/>
                <a:gd name="connsiteY7" fmla="*/ 1982260 h 1982260"/>
                <a:gd name="connsiteX8" fmla="*/ 0 w 1982260"/>
                <a:gd name="connsiteY8" fmla="*/ 991130 h 1982260"/>
                <a:gd name="connsiteX9" fmla="*/ 991130 w 1982260"/>
                <a:gd name="connsiteY9" fmla="*/ 0 h 198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2260" h="1982260">
                  <a:moveTo>
                    <a:pt x="991130" y="224367"/>
                  </a:moveTo>
                  <a:cubicBezTo>
                    <a:pt x="567658" y="224367"/>
                    <a:pt x="224367" y="567658"/>
                    <a:pt x="224367" y="991130"/>
                  </a:cubicBezTo>
                  <a:cubicBezTo>
                    <a:pt x="224367" y="1414602"/>
                    <a:pt x="567658" y="1757893"/>
                    <a:pt x="991130" y="1757893"/>
                  </a:cubicBezTo>
                  <a:cubicBezTo>
                    <a:pt x="1414602" y="1757893"/>
                    <a:pt x="1757893" y="1414602"/>
                    <a:pt x="1757893" y="991130"/>
                  </a:cubicBezTo>
                  <a:cubicBezTo>
                    <a:pt x="1757893" y="567658"/>
                    <a:pt x="1414602" y="224367"/>
                    <a:pt x="991130" y="224367"/>
                  </a:cubicBezTo>
                  <a:close/>
                  <a:moveTo>
                    <a:pt x="991130" y="0"/>
                  </a:moveTo>
                  <a:cubicBezTo>
                    <a:pt x="1538516" y="0"/>
                    <a:pt x="1982260" y="443744"/>
                    <a:pt x="1982260" y="991130"/>
                  </a:cubicBezTo>
                  <a:cubicBezTo>
                    <a:pt x="1982260" y="1538516"/>
                    <a:pt x="1538516" y="1982260"/>
                    <a:pt x="991130" y="1982260"/>
                  </a:cubicBezTo>
                  <a:cubicBezTo>
                    <a:pt x="443744" y="1982260"/>
                    <a:pt x="0" y="1538516"/>
                    <a:pt x="0" y="991130"/>
                  </a:cubicBezTo>
                  <a:cubicBezTo>
                    <a:pt x="0" y="443744"/>
                    <a:pt x="443744" y="0"/>
                    <a:pt x="991130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7" name="Freeform: Shape 126"/>
            <p:cNvSpPr/>
            <p:nvPr/>
          </p:nvSpPr>
          <p:spPr bwMode="auto">
            <a:xfrm>
              <a:off x="1990795" y="2892107"/>
              <a:ext cx="557672" cy="557672"/>
            </a:xfrm>
            <a:custGeom>
              <a:avLst/>
              <a:gdLst>
                <a:gd name="connsiteX0" fmla="*/ 1211263 w 2422526"/>
                <a:gd name="connsiteY0" fmla="*/ 232833 h 2422526"/>
                <a:gd name="connsiteX1" fmla="*/ 232833 w 2422526"/>
                <a:gd name="connsiteY1" fmla="*/ 1211263 h 2422526"/>
                <a:gd name="connsiteX2" fmla="*/ 1211263 w 2422526"/>
                <a:gd name="connsiteY2" fmla="*/ 2189693 h 2422526"/>
                <a:gd name="connsiteX3" fmla="*/ 2189693 w 2422526"/>
                <a:gd name="connsiteY3" fmla="*/ 1211263 h 2422526"/>
                <a:gd name="connsiteX4" fmla="*/ 1211263 w 2422526"/>
                <a:gd name="connsiteY4" fmla="*/ 232833 h 2422526"/>
                <a:gd name="connsiteX5" fmla="*/ 1211263 w 2422526"/>
                <a:gd name="connsiteY5" fmla="*/ 0 h 2422526"/>
                <a:gd name="connsiteX6" fmla="*/ 2422526 w 2422526"/>
                <a:gd name="connsiteY6" fmla="*/ 1211263 h 2422526"/>
                <a:gd name="connsiteX7" fmla="*/ 1211263 w 2422526"/>
                <a:gd name="connsiteY7" fmla="*/ 2422526 h 2422526"/>
                <a:gd name="connsiteX8" fmla="*/ 0 w 2422526"/>
                <a:gd name="connsiteY8" fmla="*/ 1211263 h 2422526"/>
                <a:gd name="connsiteX9" fmla="*/ 1211263 w 2422526"/>
                <a:gd name="connsiteY9" fmla="*/ 0 h 242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2526" h="2422526">
                  <a:moveTo>
                    <a:pt x="1211263" y="232833"/>
                  </a:moveTo>
                  <a:cubicBezTo>
                    <a:pt x="670891" y="232833"/>
                    <a:pt x="232833" y="670891"/>
                    <a:pt x="232833" y="1211263"/>
                  </a:cubicBezTo>
                  <a:cubicBezTo>
                    <a:pt x="232833" y="1751635"/>
                    <a:pt x="670891" y="2189693"/>
                    <a:pt x="1211263" y="2189693"/>
                  </a:cubicBezTo>
                  <a:cubicBezTo>
                    <a:pt x="1751635" y="2189693"/>
                    <a:pt x="2189693" y="1751635"/>
                    <a:pt x="2189693" y="1211263"/>
                  </a:cubicBezTo>
                  <a:cubicBezTo>
                    <a:pt x="2189693" y="670891"/>
                    <a:pt x="1751635" y="232833"/>
                    <a:pt x="1211263" y="232833"/>
                  </a:cubicBezTo>
                  <a:close/>
                  <a:moveTo>
                    <a:pt x="1211263" y="0"/>
                  </a:moveTo>
                  <a:cubicBezTo>
                    <a:pt x="1880225" y="0"/>
                    <a:pt x="2422526" y="542301"/>
                    <a:pt x="2422526" y="1211263"/>
                  </a:cubicBezTo>
                  <a:cubicBezTo>
                    <a:pt x="2422526" y="1880225"/>
                    <a:pt x="1880225" y="2422526"/>
                    <a:pt x="1211263" y="2422526"/>
                  </a:cubicBezTo>
                  <a:cubicBezTo>
                    <a:pt x="542301" y="2422526"/>
                    <a:pt x="0" y="1880225"/>
                    <a:pt x="0" y="1211263"/>
                  </a:cubicBezTo>
                  <a:cubicBezTo>
                    <a:pt x="0" y="542301"/>
                    <a:pt x="542301" y="0"/>
                    <a:pt x="1211263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95" name="Oval 94"/>
          <p:cNvSpPr/>
          <p:nvPr/>
        </p:nvSpPr>
        <p:spPr bwMode="auto">
          <a:xfrm>
            <a:off x="3453824" y="2415986"/>
            <a:ext cx="124486" cy="124486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96" name="Oval 95"/>
          <p:cNvSpPr/>
          <p:nvPr/>
        </p:nvSpPr>
        <p:spPr bwMode="auto">
          <a:xfrm>
            <a:off x="6029814" y="2415986"/>
            <a:ext cx="124486" cy="124486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98" name="Oval 97"/>
          <p:cNvSpPr/>
          <p:nvPr/>
        </p:nvSpPr>
        <p:spPr bwMode="auto">
          <a:xfrm>
            <a:off x="8618705" y="2415986"/>
            <a:ext cx="124486" cy="124486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99" name="Oval 98"/>
          <p:cNvSpPr/>
          <p:nvPr/>
        </p:nvSpPr>
        <p:spPr bwMode="auto">
          <a:xfrm>
            <a:off x="11207598" y="2415986"/>
            <a:ext cx="124486" cy="124486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11039430" y="1645120"/>
            <a:ext cx="460821" cy="430098"/>
            <a:chOff x="2028485" y="5305924"/>
            <a:chExt cx="546628" cy="510184"/>
          </a:xfrm>
          <a:noFill/>
        </p:grpSpPr>
        <p:sp>
          <p:nvSpPr>
            <p:cNvPr id="115" name="Rectangle 37"/>
            <p:cNvSpPr>
              <a:spLocks noChangeArrowheads="1"/>
            </p:cNvSpPr>
            <p:nvPr/>
          </p:nvSpPr>
          <p:spPr bwMode="auto">
            <a:xfrm>
              <a:off x="2219269" y="5305924"/>
              <a:ext cx="162917" cy="16077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  <p:sp>
          <p:nvSpPr>
            <p:cNvPr id="116" name="Rectangle 38"/>
            <p:cNvSpPr>
              <a:spLocks noChangeArrowheads="1"/>
            </p:cNvSpPr>
            <p:nvPr/>
          </p:nvSpPr>
          <p:spPr bwMode="auto">
            <a:xfrm>
              <a:off x="2028485" y="5657479"/>
              <a:ext cx="160773" cy="15862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  <p:sp>
          <p:nvSpPr>
            <p:cNvPr id="117" name="Rectangle 39"/>
            <p:cNvSpPr>
              <a:spLocks noChangeArrowheads="1"/>
            </p:cNvSpPr>
            <p:nvPr/>
          </p:nvSpPr>
          <p:spPr bwMode="auto">
            <a:xfrm>
              <a:off x="2412196" y="5657479"/>
              <a:ext cx="162917" cy="15862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  <p:sp>
          <p:nvSpPr>
            <p:cNvPr id="118" name="Line 40"/>
            <p:cNvSpPr>
              <a:spLocks noChangeShapeType="1"/>
            </p:cNvSpPr>
            <p:nvPr/>
          </p:nvSpPr>
          <p:spPr bwMode="auto">
            <a:xfrm flipH="1" flipV="1">
              <a:off x="2345744" y="5470984"/>
              <a:ext cx="102895" cy="182209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  <p:sp>
          <p:nvSpPr>
            <p:cNvPr id="120" name="Line 41"/>
            <p:cNvSpPr>
              <a:spLocks noChangeShapeType="1"/>
            </p:cNvSpPr>
            <p:nvPr/>
          </p:nvSpPr>
          <p:spPr bwMode="auto">
            <a:xfrm>
              <a:off x="2187114" y="5734650"/>
              <a:ext cx="225082" cy="0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  <p:sp>
          <p:nvSpPr>
            <p:cNvPr id="124" name="Line 42"/>
            <p:cNvSpPr>
              <a:spLocks noChangeShapeType="1"/>
            </p:cNvSpPr>
            <p:nvPr/>
          </p:nvSpPr>
          <p:spPr bwMode="auto">
            <a:xfrm flipH="1">
              <a:off x="2152816" y="5470984"/>
              <a:ext cx="102895" cy="182209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</p:grpSp>
      <p:grpSp>
        <p:nvGrpSpPr>
          <p:cNvPr id="101" name="Group 14"/>
          <p:cNvGrpSpPr>
            <a:grpSpLocks noChangeAspect="1"/>
          </p:cNvGrpSpPr>
          <p:nvPr/>
        </p:nvGrpSpPr>
        <p:grpSpPr bwMode="auto">
          <a:xfrm>
            <a:off x="5935404" y="1591086"/>
            <a:ext cx="313309" cy="483840"/>
            <a:chOff x="2912" y="2002"/>
            <a:chExt cx="158" cy="244"/>
          </a:xfrm>
          <a:noFill/>
        </p:grpSpPr>
        <p:sp>
          <p:nvSpPr>
            <p:cNvPr id="111" name="Rectangle 15"/>
            <p:cNvSpPr>
              <a:spLocks noChangeArrowheads="1"/>
            </p:cNvSpPr>
            <p:nvPr/>
          </p:nvSpPr>
          <p:spPr bwMode="auto">
            <a:xfrm>
              <a:off x="2912" y="2002"/>
              <a:ext cx="67" cy="65"/>
            </a:xfrm>
            <a:prstGeom prst="rect">
              <a:avLst/>
            </a:prstGeom>
            <a:ln/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2" name="Rectangle 16"/>
            <p:cNvSpPr>
              <a:spLocks noChangeArrowheads="1"/>
            </p:cNvSpPr>
            <p:nvPr/>
          </p:nvSpPr>
          <p:spPr bwMode="auto">
            <a:xfrm>
              <a:off x="3004" y="2002"/>
              <a:ext cx="66" cy="65"/>
            </a:xfrm>
            <a:prstGeom prst="rect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3" name="Rectangle 17"/>
            <p:cNvSpPr>
              <a:spLocks noChangeArrowheads="1"/>
            </p:cNvSpPr>
            <p:nvPr/>
          </p:nvSpPr>
          <p:spPr bwMode="auto">
            <a:xfrm>
              <a:off x="2912" y="2180"/>
              <a:ext cx="67" cy="66"/>
            </a:xfrm>
            <a:prstGeom prst="rect">
              <a:avLst/>
            </a:prstGeom>
            <a:ln/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4" name="Rectangle 18"/>
            <p:cNvSpPr>
              <a:spLocks noChangeArrowheads="1"/>
            </p:cNvSpPr>
            <p:nvPr/>
          </p:nvSpPr>
          <p:spPr bwMode="auto">
            <a:xfrm>
              <a:off x="2912" y="2091"/>
              <a:ext cx="158" cy="66"/>
            </a:xfrm>
            <a:prstGeom prst="rect">
              <a:avLst/>
            </a:prstGeom>
            <a:ln/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102" name="Group 27"/>
          <p:cNvGrpSpPr>
            <a:grpSpLocks noChangeAspect="1"/>
          </p:cNvGrpSpPr>
          <p:nvPr/>
        </p:nvGrpSpPr>
        <p:grpSpPr bwMode="auto">
          <a:xfrm>
            <a:off x="8471282" y="1686617"/>
            <a:ext cx="419334" cy="374267"/>
            <a:chOff x="3810" y="2105"/>
            <a:chExt cx="214" cy="191"/>
          </a:xfrm>
          <a:noFill/>
        </p:grpSpPr>
        <p:sp>
          <p:nvSpPr>
            <p:cNvPr id="105" name="Freeform 28"/>
            <p:cNvSpPr>
              <a:spLocks/>
            </p:cNvSpPr>
            <p:nvPr/>
          </p:nvSpPr>
          <p:spPr bwMode="auto">
            <a:xfrm>
              <a:off x="3810" y="2105"/>
              <a:ext cx="214" cy="191"/>
            </a:xfrm>
            <a:custGeom>
              <a:avLst/>
              <a:gdLst>
                <a:gd name="T0" fmla="*/ 214 w 214"/>
                <a:gd name="T1" fmla="*/ 120 h 191"/>
                <a:gd name="T2" fmla="*/ 214 w 214"/>
                <a:gd name="T3" fmla="*/ 0 h 191"/>
                <a:gd name="T4" fmla="*/ 0 w 214"/>
                <a:gd name="T5" fmla="*/ 0 h 191"/>
                <a:gd name="T6" fmla="*/ 0 w 214"/>
                <a:gd name="T7" fmla="*/ 145 h 191"/>
                <a:gd name="T8" fmla="*/ 29 w 214"/>
                <a:gd name="T9" fmla="*/ 145 h 191"/>
                <a:gd name="T10" fmla="*/ 29 w 214"/>
                <a:gd name="T11" fmla="*/ 191 h 191"/>
                <a:gd name="T12" fmla="*/ 75 w 214"/>
                <a:gd name="T13" fmla="*/ 145 h 191"/>
                <a:gd name="T14" fmla="*/ 121 w 214"/>
                <a:gd name="T15" fmla="*/ 14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91">
                  <a:moveTo>
                    <a:pt x="214" y="120"/>
                  </a:moveTo>
                  <a:lnTo>
                    <a:pt x="214" y="0"/>
                  </a:lnTo>
                  <a:lnTo>
                    <a:pt x="0" y="0"/>
                  </a:lnTo>
                  <a:lnTo>
                    <a:pt x="0" y="145"/>
                  </a:lnTo>
                  <a:lnTo>
                    <a:pt x="29" y="145"/>
                  </a:lnTo>
                  <a:lnTo>
                    <a:pt x="29" y="191"/>
                  </a:lnTo>
                  <a:lnTo>
                    <a:pt x="75" y="145"/>
                  </a:lnTo>
                  <a:lnTo>
                    <a:pt x="121" y="145"/>
                  </a:lnTo>
                </a:path>
              </a:pathLst>
            </a:cu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6" name="Line 29"/>
            <p:cNvSpPr>
              <a:spLocks noChangeShapeType="1"/>
            </p:cNvSpPr>
            <p:nvPr/>
          </p:nvSpPr>
          <p:spPr bwMode="auto">
            <a:xfrm>
              <a:off x="3931" y="2250"/>
              <a:ext cx="0" cy="0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7" name="Freeform 30"/>
            <p:cNvSpPr>
              <a:spLocks/>
            </p:cNvSpPr>
            <p:nvPr/>
          </p:nvSpPr>
          <p:spPr bwMode="auto">
            <a:xfrm>
              <a:off x="3903" y="2221"/>
              <a:ext cx="121" cy="29"/>
            </a:xfrm>
            <a:custGeom>
              <a:avLst/>
              <a:gdLst>
                <a:gd name="T0" fmla="*/ 0 w 93"/>
                <a:gd name="T1" fmla="*/ 25 h 25"/>
                <a:gd name="T2" fmla="*/ 93 w 93"/>
                <a:gd name="T3" fmla="*/ 25 h 25"/>
                <a:gd name="T4" fmla="*/ 93 w 93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25">
                  <a:moveTo>
                    <a:pt x="0" y="25"/>
                  </a:moveTo>
                  <a:lnTo>
                    <a:pt x="93" y="25"/>
                  </a:lnTo>
                  <a:lnTo>
                    <a:pt x="93" y="0"/>
                  </a:lnTo>
                </a:path>
              </a:pathLst>
            </a:cu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8" name="Freeform 31"/>
            <p:cNvSpPr>
              <a:spLocks/>
            </p:cNvSpPr>
            <p:nvPr/>
          </p:nvSpPr>
          <p:spPr bwMode="auto">
            <a:xfrm>
              <a:off x="3865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9" name="Freeform 32"/>
            <p:cNvSpPr>
              <a:spLocks/>
            </p:cNvSpPr>
            <p:nvPr/>
          </p:nvSpPr>
          <p:spPr bwMode="auto">
            <a:xfrm>
              <a:off x="3911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0" name="Freeform 33"/>
            <p:cNvSpPr>
              <a:spLocks/>
            </p:cNvSpPr>
            <p:nvPr/>
          </p:nvSpPr>
          <p:spPr bwMode="auto">
            <a:xfrm>
              <a:off x="3958" y="2172"/>
              <a:ext cx="10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103" name="Rectangle 102"/>
          <p:cNvSpPr/>
          <p:nvPr/>
        </p:nvSpPr>
        <p:spPr bwMode="auto">
          <a:xfrm>
            <a:off x="6639588" y="1301287"/>
            <a:ext cx="5251538" cy="97098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2588716" y="1334495"/>
            <a:ext cx="1797244" cy="97098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5410721" y="3925138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ffice 365  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5410721" y="4956577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wiftKey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5410721" y="5443215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ix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5410721" y="5929851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ustomer Service and Support</a:t>
            </a:r>
          </a:p>
        </p:txBody>
      </p:sp>
      <p:sp>
        <p:nvSpPr>
          <p:cNvPr id="2" name="Rectangle 1"/>
          <p:cNvSpPr/>
          <p:nvPr/>
        </p:nvSpPr>
        <p:spPr>
          <a:xfrm>
            <a:off x="5410721" y="4411777"/>
            <a:ext cx="5199264" cy="452590"/>
          </a:xfrm>
          <a:prstGeom prst="rect">
            <a:avLst/>
          </a:prstGeom>
        </p:spPr>
        <p:txBody>
          <a:bodyPr wrap="square" lIns="0" tIns="44821" rIns="0" bIns="44821">
            <a:spAutoFit/>
          </a:bodyPr>
          <a:lstStyle/>
          <a:p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ynamics 365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8303006" y="3932236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kype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8303006" y="5450312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solidFill>
                <a:srgbClr val="1A1A1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108021" y="4901313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solidFill>
                <a:srgbClr val="1A1A1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303006" y="4418874"/>
            <a:ext cx="5199264" cy="452590"/>
          </a:xfrm>
          <a:prstGeom prst="rect">
            <a:avLst/>
          </a:prstGeom>
        </p:spPr>
        <p:txBody>
          <a:bodyPr wrap="square" lIns="0" tIns="44821" rIns="0" bIns="44821">
            <a:spAutoFit/>
          </a:bodyPr>
          <a:lstStyle/>
          <a:p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am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8303006" y="4891534"/>
            <a:ext cx="5199264" cy="452590"/>
          </a:xfrm>
          <a:prstGeom prst="rect">
            <a:avLst/>
          </a:prstGeom>
        </p:spPr>
        <p:txBody>
          <a:bodyPr wrap="square" lIns="0" tIns="44821" rIns="0" bIns="44821">
            <a:spAutoFit/>
          </a:bodyPr>
          <a:lstStyle/>
          <a:p>
            <a:r>
              <a:rPr lang="en-US" sz="2353" kern="0" dirty="0" err="1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lendar.help</a:t>
            </a:r>
            <a:endParaRPr lang="en-US" sz="2353" kern="0" dirty="0">
              <a:solidFill>
                <a:srgbClr val="1A1A1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98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27"/>
          <p:cNvGrpSpPr>
            <a:grpSpLocks noChangeAspect="1"/>
          </p:cNvGrpSpPr>
          <p:nvPr/>
        </p:nvGrpSpPr>
        <p:grpSpPr bwMode="auto">
          <a:xfrm>
            <a:off x="5867569" y="1650425"/>
            <a:ext cx="448152" cy="399987"/>
            <a:chOff x="3810" y="2105"/>
            <a:chExt cx="214" cy="191"/>
          </a:xfrm>
          <a:solidFill>
            <a:schemeClr val="bg1"/>
          </a:solidFill>
        </p:grpSpPr>
        <p:sp>
          <p:nvSpPr>
            <p:cNvPr id="56" name="Freeform 28"/>
            <p:cNvSpPr>
              <a:spLocks/>
            </p:cNvSpPr>
            <p:nvPr/>
          </p:nvSpPr>
          <p:spPr bwMode="auto">
            <a:xfrm>
              <a:off x="3810" y="2105"/>
              <a:ext cx="214" cy="191"/>
            </a:xfrm>
            <a:custGeom>
              <a:avLst/>
              <a:gdLst>
                <a:gd name="T0" fmla="*/ 214 w 214"/>
                <a:gd name="T1" fmla="*/ 120 h 191"/>
                <a:gd name="T2" fmla="*/ 214 w 214"/>
                <a:gd name="T3" fmla="*/ 0 h 191"/>
                <a:gd name="T4" fmla="*/ 0 w 214"/>
                <a:gd name="T5" fmla="*/ 0 h 191"/>
                <a:gd name="T6" fmla="*/ 0 w 214"/>
                <a:gd name="T7" fmla="*/ 145 h 191"/>
                <a:gd name="T8" fmla="*/ 29 w 214"/>
                <a:gd name="T9" fmla="*/ 145 h 191"/>
                <a:gd name="T10" fmla="*/ 29 w 214"/>
                <a:gd name="T11" fmla="*/ 191 h 191"/>
                <a:gd name="T12" fmla="*/ 75 w 214"/>
                <a:gd name="T13" fmla="*/ 145 h 191"/>
                <a:gd name="T14" fmla="*/ 121 w 214"/>
                <a:gd name="T15" fmla="*/ 14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91">
                  <a:moveTo>
                    <a:pt x="214" y="120"/>
                  </a:moveTo>
                  <a:lnTo>
                    <a:pt x="214" y="0"/>
                  </a:lnTo>
                  <a:lnTo>
                    <a:pt x="0" y="0"/>
                  </a:lnTo>
                  <a:lnTo>
                    <a:pt x="0" y="145"/>
                  </a:lnTo>
                  <a:lnTo>
                    <a:pt x="29" y="145"/>
                  </a:lnTo>
                  <a:lnTo>
                    <a:pt x="29" y="191"/>
                  </a:lnTo>
                  <a:lnTo>
                    <a:pt x="75" y="145"/>
                  </a:lnTo>
                  <a:lnTo>
                    <a:pt x="121" y="145"/>
                  </a:lnTo>
                </a:path>
              </a:pathLst>
            </a:custGeom>
            <a:grpFill/>
            <a:ln>
              <a:solidFill>
                <a:schemeClr val="accent3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67" name="Line 29"/>
            <p:cNvSpPr>
              <a:spLocks noChangeShapeType="1"/>
            </p:cNvSpPr>
            <p:nvPr/>
          </p:nvSpPr>
          <p:spPr bwMode="auto">
            <a:xfrm>
              <a:off x="3931" y="2250"/>
              <a:ext cx="0" cy="0"/>
            </a:xfrm>
            <a:prstGeom prst="line">
              <a:avLst/>
            </a:prstGeom>
            <a:grpFill/>
            <a:ln>
              <a:solidFill>
                <a:schemeClr val="accent3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68" name="Freeform 30"/>
            <p:cNvSpPr>
              <a:spLocks/>
            </p:cNvSpPr>
            <p:nvPr/>
          </p:nvSpPr>
          <p:spPr bwMode="auto">
            <a:xfrm>
              <a:off x="3903" y="2221"/>
              <a:ext cx="121" cy="29"/>
            </a:xfrm>
            <a:custGeom>
              <a:avLst/>
              <a:gdLst>
                <a:gd name="T0" fmla="*/ 0 w 93"/>
                <a:gd name="T1" fmla="*/ 25 h 25"/>
                <a:gd name="T2" fmla="*/ 93 w 93"/>
                <a:gd name="T3" fmla="*/ 25 h 25"/>
                <a:gd name="T4" fmla="*/ 93 w 93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25">
                  <a:moveTo>
                    <a:pt x="0" y="25"/>
                  </a:moveTo>
                  <a:lnTo>
                    <a:pt x="93" y="25"/>
                  </a:lnTo>
                  <a:lnTo>
                    <a:pt x="93" y="0"/>
                  </a:lnTo>
                </a:path>
              </a:pathLst>
            </a:custGeom>
            <a:grpFill/>
            <a:ln>
              <a:solidFill>
                <a:schemeClr val="accent3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69" name="Freeform 31"/>
            <p:cNvSpPr>
              <a:spLocks/>
            </p:cNvSpPr>
            <p:nvPr/>
          </p:nvSpPr>
          <p:spPr bwMode="auto">
            <a:xfrm>
              <a:off x="3865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accent3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0" name="Freeform 32"/>
            <p:cNvSpPr>
              <a:spLocks/>
            </p:cNvSpPr>
            <p:nvPr/>
          </p:nvSpPr>
          <p:spPr bwMode="auto">
            <a:xfrm>
              <a:off x="3911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accent3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2" name="Freeform 33"/>
            <p:cNvSpPr>
              <a:spLocks/>
            </p:cNvSpPr>
            <p:nvPr/>
          </p:nvSpPr>
          <p:spPr bwMode="auto">
            <a:xfrm>
              <a:off x="3958" y="2172"/>
              <a:ext cx="10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accent3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cxnSp>
        <p:nvCxnSpPr>
          <p:cNvPr id="53" name="Straight Connector 52"/>
          <p:cNvCxnSpPr/>
          <p:nvPr/>
        </p:nvCxnSpPr>
        <p:spPr>
          <a:xfrm>
            <a:off x="866" y="2474599"/>
            <a:ext cx="1219027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4" name="Oval 53"/>
          <p:cNvSpPr/>
          <p:nvPr/>
        </p:nvSpPr>
        <p:spPr bwMode="auto">
          <a:xfrm>
            <a:off x="6029402" y="2412357"/>
            <a:ext cx="124486" cy="12448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4009281" y="2806083"/>
            <a:ext cx="4185670" cy="37345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20" kern="0" dirty="0">
                <a:solidFill>
                  <a:srgbClr val="FF0000"/>
                </a:solidFill>
                <a:latin typeface="Segoe UI"/>
                <a:cs typeface="Segoe UI Semilight" panose="020B0402040204020203" pitchFamily="34" charset="0"/>
              </a:rPr>
              <a:t>Include</a:t>
            </a:r>
            <a:r>
              <a:rPr lang="en-US" sz="3920" kern="0" dirty="0">
                <a:solidFill>
                  <a:srgbClr val="0D0D0D"/>
                </a:solidFill>
                <a:latin typeface="Segoe UI"/>
                <a:cs typeface="Segoe UI Semilight" panose="020B0402040204020203" pitchFamily="34" charset="0"/>
              </a:rPr>
              <a:t> AI - </a:t>
            </a:r>
            <a:r>
              <a:rPr lang="en-US" sz="3920" kern="0" dirty="0">
                <a:solidFill>
                  <a:srgbClr val="0D0D0D"/>
                </a:solidFill>
                <a:latin typeface="Segoe UI Semibold"/>
                <a:cs typeface="Segoe UI Semilight" panose="020B0402040204020203" pitchFamily="34" charset="0"/>
              </a:rPr>
              <a:t>Services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6039316" y="4063066"/>
            <a:ext cx="5528361" cy="33572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0D0D0D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gnitive Services Customizations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6039316" y="3511023"/>
            <a:ext cx="5528361" cy="33572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0D0D0D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gnitive Services</a:t>
            </a:r>
          </a:p>
        </p:txBody>
      </p:sp>
      <p:sp>
        <p:nvSpPr>
          <p:cNvPr id="89" name="Oval 88"/>
          <p:cNvSpPr/>
          <p:nvPr/>
        </p:nvSpPr>
        <p:spPr bwMode="auto">
          <a:xfrm>
            <a:off x="850789" y="2417077"/>
            <a:ext cx="124486" cy="12448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90" name="Group 89"/>
          <p:cNvGrpSpPr/>
          <p:nvPr/>
        </p:nvGrpSpPr>
        <p:grpSpPr>
          <a:xfrm>
            <a:off x="639716" y="1538916"/>
            <a:ext cx="546632" cy="546632"/>
            <a:chOff x="1990795" y="2892107"/>
            <a:chExt cx="557672" cy="557672"/>
          </a:xfrm>
          <a:noFill/>
        </p:grpSpPr>
        <p:sp>
          <p:nvSpPr>
            <p:cNvPr id="91" name="Freeform: Shape 90"/>
            <p:cNvSpPr/>
            <p:nvPr/>
          </p:nvSpPr>
          <p:spPr bwMode="auto">
            <a:xfrm>
              <a:off x="2041470" y="2942782"/>
              <a:ext cx="456322" cy="456322"/>
            </a:xfrm>
            <a:custGeom>
              <a:avLst/>
              <a:gdLst>
                <a:gd name="connsiteX0" fmla="*/ 991130 w 1982260"/>
                <a:gd name="connsiteY0" fmla="*/ 224367 h 1982260"/>
                <a:gd name="connsiteX1" fmla="*/ 224367 w 1982260"/>
                <a:gd name="connsiteY1" fmla="*/ 991130 h 1982260"/>
                <a:gd name="connsiteX2" fmla="*/ 991130 w 1982260"/>
                <a:gd name="connsiteY2" fmla="*/ 1757893 h 1982260"/>
                <a:gd name="connsiteX3" fmla="*/ 1757893 w 1982260"/>
                <a:gd name="connsiteY3" fmla="*/ 991130 h 1982260"/>
                <a:gd name="connsiteX4" fmla="*/ 991130 w 1982260"/>
                <a:gd name="connsiteY4" fmla="*/ 224367 h 1982260"/>
                <a:gd name="connsiteX5" fmla="*/ 991130 w 1982260"/>
                <a:gd name="connsiteY5" fmla="*/ 0 h 1982260"/>
                <a:gd name="connsiteX6" fmla="*/ 1982260 w 1982260"/>
                <a:gd name="connsiteY6" fmla="*/ 991130 h 1982260"/>
                <a:gd name="connsiteX7" fmla="*/ 991130 w 1982260"/>
                <a:gd name="connsiteY7" fmla="*/ 1982260 h 1982260"/>
                <a:gd name="connsiteX8" fmla="*/ 0 w 1982260"/>
                <a:gd name="connsiteY8" fmla="*/ 991130 h 1982260"/>
                <a:gd name="connsiteX9" fmla="*/ 991130 w 1982260"/>
                <a:gd name="connsiteY9" fmla="*/ 0 h 198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2260" h="1982260">
                  <a:moveTo>
                    <a:pt x="991130" y="224367"/>
                  </a:moveTo>
                  <a:cubicBezTo>
                    <a:pt x="567658" y="224367"/>
                    <a:pt x="224367" y="567658"/>
                    <a:pt x="224367" y="991130"/>
                  </a:cubicBezTo>
                  <a:cubicBezTo>
                    <a:pt x="224367" y="1414602"/>
                    <a:pt x="567658" y="1757893"/>
                    <a:pt x="991130" y="1757893"/>
                  </a:cubicBezTo>
                  <a:cubicBezTo>
                    <a:pt x="1414602" y="1757893"/>
                    <a:pt x="1757893" y="1414602"/>
                    <a:pt x="1757893" y="991130"/>
                  </a:cubicBezTo>
                  <a:cubicBezTo>
                    <a:pt x="1757893" y="567658"/>
                    <a:pt x="1414602" y="224367"/>
                    <a:pt x="991130" y="224367"/>
                  </a:cubicBezTo>
                  <a:close/>
                  <a:moveTo>
                    <a:pt x="991130" y="0"/>
                  </a:moveTo>
                  <a:cubicBezTo>
                    <a:pt x="1538516" y="0"/>
                    <a:pt x="1982260" y="443744"/>
                    <a:pt x="1982260" y="991130"/>
                  </a:cubicBezTo>
                  <a:cubicBezTo>
                    <a:pt x="1982260" y="1538516"/>
                    <a:pt x="1538516" y="1982260"/>
                    <a:pt x="991130" y="1982260"/>
                  </a:cubicBezTo>
                  <a:cubicBezTo>
                    <a:pt x="443744" y="1982260"/>
                    <a:pt x="0" y="1538516"/>
                    <a:pt x="0" y="991130"/>
                  </a:cubicBezTo>
                  <a:cubicBezTo>
                    <a:pt x="0" y="443744"/>
                    <a:pt x="443744" y="0"/>
                    <a:pt x="991130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92" name="Freeform: Shape 91"/>
            <p:cNvSpPr/>
            <p:nvPr/>
          </p:nvSpPr>
          <p:spPr bwMode="auto">
            <a:xfrm>
              <a:off x="1990795" y="2892107"/>
              <a:ext cx="557672" cy="557672"/>
            </a:xfrm>
            <a:custGeom>
              <a:avLst/>
              <a:gdLst>
                <a:gd name="connsiteX0" fmla="*/ 1211263 w 2422526"/>
                <a:gd name="connsiteY0" fmla="*/ 232833 h 2422526"/>
                <a:gd name="connsiteX1" fmla="*/ 232833 w 2422526"/>
                <a:gd name="connsiteY1" fmla="*/ 1211263 h 2422526"/>
                <a:gd name="connsiteX2" fmla="*/ 1211263 w 2422526"/>
                <a:gd name="connsiteY2" fmla="*/ 2189693 h 2422526"/>
                <a:gd name="connsiteX3" fmla="*/ 2189693 w 2422526"/>
                <a:gd name="connsiteY3" fmla="*/ 1211263 h 2422526"/>
                <a:gd name="connsiteX4" fmla="*/ 1211263 w 2422526"/>
                <a:gd name="connsiteY4" fmla="*/ 232833 h 2422526"/>
                <a:gd name="connsiteX5" fmla="*/ 1211263 w 2422526"/>
                <a:gd name="connsiteY5" fmla="*/ 0 h 2422526"/>
                <a:gd name="connsiteX6" fmla="*/ 2422526 w 2422526"/>
                <a:gd name="connsiteY6" fmla="*/ 1211263 h 2422526"/>
                <a:gd name="connsiteX7" fmla="*/ 1211263 w 2422526"/>
                <a:gd name="connsiteY7" fmla="*/ 2422526 h 2422526"/>
                <a:gd name="connsiteX8" fmla="*/ 0 w 2422526"/>
                <a:gd name="connsiteY8" fmla="*/ 1211263 h 2422526"/>
                <a:gd name="connsiteX9" fmla="*/ 1211263 w 2422526"/>
                <a:gd name="connsiteY9" fmla="*/ 0 h 242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2526" h="2422526">
                  <a:moveTo>
                    <a:pt x="1211263" y="232833"/>
                  </a:moveTo>
                  <a:cubicBezTo>
                    <a:pt x="670891" y="232833"/>
                    <a:pt x="232833" y="670891"/>
                    <a:pt x="232833" y="1211263"/>
                  </a:cubicBezTo>
                  <a:cubicBezTo>
                    <a:pt x="232833" y="1751635"/>
                    <a:pt x="670891" y="2189693"/>
                    <a:pt x="1211263" y="2189693"/>
                  </a:cubicBezTo>
                  <a:cubicBezTo>
                    <a:pt x="1751635" y="2189693"/>
                    <a:pt x="2189693" y="1751635"/>
                    <a:pt x="2189693" y="1211263"/>
                  </a:cubicBezTo>
                  <a:cubicBezTo>
                    <a:pt x="2189693" y="670891"/>
                    <a:pt x="1751635" y="232833"/>
                    <a:pt x="1211263" y="232833"/>
                  </a:cubicBezTo>
                  <a:close/>
                  <a:moveTo>
                    <a:pt x="1211263" y="0"/>
                  </a:moveTo>
                  <a:cubicBezTo>
                    <a:pt x="1880225" y="0"/>
                    <a:pt x="2422526" y="542301"/>
                    <a:pt x="2422526" y="1211263"/>
                  </a:cubicBezTo>
                  <a:cubicBezTo>
                    <a:pt x="2422526" y="1880225"/>
                    <a:pt x="1880225" y="2422526"/>
                    <a:pt x="1211263" y="2422526"/>
                  </a:cubicBezTo>
                  <a:cubicBezTo>
                    <a:pt x="542301" y="2422526"/>
                    <a:pt x="0" y="1880225"/>
                    <a:pt x="0" y="1211263"/>
                  </a:cubicBezTo>
                  <a:cubicBezTo>
                    <a:pt x="0" y="542301"/>
                    <a:pt x="542301" y="0"/>
                    <a:pt x="1211263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93" name="Oval 92"/>
          <p:cNvSpPr/>
          <p:nvPr/>
        </p:nvSpPr>
        <p:spPr bwMode="auto">
          <a:xfrm>
            <a:off x="8617463" y="2417077"/>
            <a:ext cx="124486" cy="12448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8449297" y="1644721"/>
            <a:ext cx="460821" cy="430097"/>
            <a:chOff x="2028485" y="5305924"/>
            <a:chExt cx="546628" cy="510184"/>
          </a:xfrm>
          <a:noFill/>
        </p:grpSpPr>
        <p:sp>
          <p:nvSpPr>
            <p:cNvPr id="95" name="Rectangle 37"/>
            <p:cNvSpPr>
              <a:spLocks noChangeArrowheads="1"/>
            </p:cNvSpPr>
            <p:nvPr/>
          </p:nvSpPr>
          <p:spPr bwMode="auto">
            <a:xfrm>
              <a:off x="2219269" y="5305924"/>
              <a:ext cx="162917" cy="16077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6" name="Rectangle 38"/>
            <p:cNvSpPr>
              <a:spLocks noChangeArrowheads="1"/>
            </p:cNvSpPr>
            <p:nvPr/>
          </p:nvSpPr>
          <p:spPr bwMode="auto">
            <a:xfrm>
              <a:off x="2028485" y="5657479"/>
              <a:ext cx="160773" cy="15862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7" name="Rectangle 39"/>
            <p:cNvSpPr>
              <a:spLocks noChangeArrowheads="1"/>
            </p:cNvSpPr>
            <p:nvPr/>
          </p:nvSpPr>
          <p:spPr bwMode="auto">
            <a:xfrm>
              <a:off x="2412196" y="5657479"/>
              <a:ext cx="162917" cy="15862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8" name="Line 40"/>
            <p:cNvSpPr>
              <a:spLocks noChangeShapeType="1"/>
            </p:cNvSpPr>
            <p:nvPr/>
          </p:nvSpPr>
          <p:spPr bwMode="auto">
            <a:xfrm flipH="1" flipV="1">
              <a:off x="2345744" y="5470984"/>
              <a:ext cx="102895" cy="182209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2" name="Line 41"/>
            <p:cNvSpPr>
              <a:spLocks noChangeShapeType="1"/>
            </p:cNvSpPr>
            <p:nvPr/>
          </p:nvSpPr>
          <p:spPr bwMode="auto">
            <a:xfrm>
              <a:off x="2187114" y="5734650"/>
              <a:ext cx="225082" cy="0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3" name="Line 42"/>
            <p:cNvSpPr>
              <a:spLocks noChangeShapeType="1"/>
            </p:cNvSpPr>
            <p:nvPr/>
          </p:nvSpPr>
          <p:spPr bwMode="auto">
            <a:xfrm flipH="1">
              <a:off x="2152816" y="5470984"/>
              <a:ext cx="102895" cy="182209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04" name="Oval 103"/>
          <p:cNvSpPr/>
          <p:nvPr/>
        </p:nvSpPr>
        <p:spPr bwMode="auto">
          <a:xfrm>
            <a:off x="3439681" y="2417077"/>
            <a:ext cx="124486" cy="12448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105" name="Group 14"/>
          <p:cNvGrpSpPr>
            <a:grpSpLocks noChangeAspect="1"/>
          </p:cNvGrpSpPr>
          <p:nvPr/>
        </p:nvGrpSpPr>
        <p:grpSpPr bwMode="auto">
          <a:xfrm>
            <a:off x="3374100" y="1662370"/>
            <a:ext cx="255649" cy="394798"/>
            <a:chOff x="2912" y="2002"/>
            <a:chExt cx="158" cy="244"/>
          </a:xfrm>
          <a:noFill/>
        </p:grpSpPr>
        <p:sp>
          <p:nvSpPr>
            <p:cNvPr id="106" name="Rectangle 15"/>
            <p:cNvSpPr>
              <a:spLocks noChangeArrowheads="1"/>
            </p:cNvSpPr>
            <p:nvPr/>
          </p:nvSpPr>
          <p:spPr bwMode="auto">
            <a:xfrm>
              <a:off x="2912" y="2002"/>
              <a:ext cx="67" cy="65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7" name="Rectangle 16"/>
            <p:cNvSpPr>
              <a:spLocks noChangeArrowheads="1"/>
            </p:cNvSpPr>
            <p:nvPr/>
          </p:nvSpPr>
          <p:spPr bwMode="auto">
            <a:xfrm>
              <a:off x="3004" y="2002"/>
              <a:ext cx="66" cy="65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8" name="Rectangle 17"/>
            <p:cNvSpPr>
              <a:spLocks noChangeArrowheads="1"/>
            </p:cNvSpPr>
            <p:nvPr/>
          </p:nvSpPr>
          <p:spPr bwMode="auto">
            <a:xfrm>
              <a:off x="2912" y="2180"/>
              <a:ext cx="67" cy="66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9" name="Rectangle 18"/>
            <p:cNvSpPr>
              <a:spLocks noChangeArrowheads="1"/>
            </p:cNvSpPr>
            <p:nvPr/>
          </p:nvSpPr>
          <p:spPr bwMode="auto">
            <a:xfrm>
              <a:off x="2912" y="2091"/>
              <a:ext cx="158" cy="66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269288" y="1266408"/>
            <a:ext cx="11921850" cy="1008300"/>
            <a:chOff x="273842" y="1266321"/>
            <a:chExt cx="12162634" cy="1028664"/>
          </a:xfrm>
          <a:noFill/>
        </p:grpSpPr>
        <p:sp>
          <p:nvSpPr>
            <p:cNvPr id="112" name="Rectangle 111"/>
            <p:cNvSpPr/>
            <p:nvPr/>
          </p:nvSpPr>
          <p:spPr bwMode="auto">
            <a:xfrm>
              <a:off x="273842" y="1266321"/>
              <a:ext cx="5438140" cy="9906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113" name="Rectangle 112"/>
            <p:cNvSpPr/>
            <p:nvPr/>
          </p:nvSpPr>
          <p:spPr bwMode="auto">
            <a:xfrm>
              <a:off x="6791012" y="1304385"/>
              <a:ext cx="5645464" cy="9906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37" name="Rectangle 36"/>
          <p:cNvSpPr/>
          <p:nvPr/>
        </p:nvSpPr>
        <p:spPr bwMode="auto">
          <a:xfrm>
            <a:off x="6039316" y="4618457"/>
            <a:ext cx="5528361" cy="46924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ot Framewor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FBE9A94-20A2-4588-ACE0-4C50CCD5446C}"/>
              </a:ext>
            </a:extLst>
          </p:cNvPr>
          <p:cNvSpPr/>
          <p:nvPr/>
        </p:nvSpPr>
        <p:spPr>
          <a:xfrm>
            <a:off x="6039316" y="5192211"/>
            <a:ext cx="3281177" cy="36207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</a:pPr>
            <a:r>
              <a:rPr lang="en-US" sz="2353" kern="0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Knowledge Mining</a:t>
            </a:r>
          </a:p>
        </p:txBody>
      </p:sp>
    </p:spTree>
    <p:extLst>
      <p:ext uri="{BB962C8B-B14F-4D97-AF65-F5344CB8AC3E}">
        <p14:creationId xmlns:p14="http://schemas.microsoft.com/office/powerpoint/2010/main" val="205189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 bwMode="auto">
          <a:xfrm>
            <a:off x="866" y="3341353"/>
            <a:ext cx="12189648" cy="351519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669" b="47740"/>
          <a:stretch/>
        </p:blipFill>
        <p:spPr>
          <a:xfrm>
            <a:off x="1731" y="1459"/>
            <a:ext cx="12188542" cy="3320992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 bwMode="auto">
          <a:xfrm>
            <a:off x="866" y="974"/>
            <a:ext cx="12206461" cy="3321476"/>
          </a:xfrm>
          <a:prstGeom prst="rect">
            <a:avLst/>
          </a:prstGeom>
          <a:gradFill>
            <a:gsLst>
              <a:gs pos="13000">
                <a:schemeClr val="tx1">
                  <a:lumMod val="50000"/>
                  <a:alpha val="0"/>
                </a:schemeClr>
              </a:gs>
              <a:gs pos="83000">
                <a:schemeClr val="tx1">
                  <a:lumMod val="50000"/>
                </a:schemeClr>
              </a:gs>
            </a:gsLst>
            <a:lin ang="108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9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7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866" y="3313076"/>
            <a:ext cx="12189648" cy="0"/>
          </a:xfrm>
          <a:prstGeom prst="line">
            <a:avLst/>
          </a:prstGeom>
          <a:ln w="444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BF17D20-2F5A-4851-B595-1D4BBC639D7C}"/>
              </a:ext>
            </a:extLst>
          </p:cNvPr>
          <p:cNvSpPr txBox="1"/>
          <p:nvPr/>
        </p:nvSpPr>
        <p:spPr>
          <a:xfrm>
            <a:off x="9896458" y="3982258"/>
            <a:ext cx="1919696" cy="1807194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abs</a:t>
            </a:r>
            <a:endParaRPr lang="en-US" sz="2000" b="1">
              <a:gradFill>
                <a:gsLst>
                  <a:gs pos="11628">
                    <a:srgbClr val="3F3F3F"/>
                  </a:gs>
                  <a:gs pos="54000">
                    <a:srgbClr val="3F3F3F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 early look at emerging Cognitive Services technologies: discover, try, and give feedback on new technologies before general availabi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6531891-CD1C-4FB8-AC91-34670C52B4AF}"/>
              </a:ext>
            </a:extLst>
          </p:cNvPr>
          <p:cNvSpPr txBox="1"/>
          <p:nvPr/>
        </p:nvSpPr>
        <p:spPr>
          <a:xfrm>
            <a:off x="6121631" y="3982259"/>
            <a:ext cx="1919696" cy="1298665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nowledge</a:t>
            </a:r>
          </a:p>
          <a:p>
            <a:pPr algn="ctr" defTabSz="913963">
              <a:lnSpc>
                <a:spcPct val="90000"/>
              </a:lnSpc>
              <a:spcAft>
                <a:spcPts val="574"/>
              </a:spcAft>
              <a:defRPr/>
            </a:pPr>
            <a:r>
              <a:rPr lang="en-US" sz="1200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ap complex information and data in order to solve specific tasks 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3E4749-D0CB-462D-8C1B-676EAFAC136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2239" y="2870511"/>
            <a:ext cx="1138482" cy="1142677"/>
          </a:xfrm>
          <a:prstGeom prst="ellipse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774DB6C-D485-4533-A9F9-B16C2241F6EF}"/>
              </a:ext>
            </a:extLst>
          </p:cNvPr>
          <p:cNvSpPr txBox="1"/>
          <p:nvPr/>
        </p:nvSpPr>
        <p:spPr>
          <a:xfrm>
            <a:off x="4234217" y="3982259"/>
            <a:ext cx="1919696" cy="1112767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anguage</a:t>
            </a:r>
          </a:p>
          <a:p>
            <a:pPr algn="ctr" defTabSz="913963">
              <a:lnSpc>
                <a:spcPct val="90000"/>
              </a:lnSpc>
              <a:spcAft>
                <a:spcPts val="574"/>
              </a:spcAft>
              <a:defRPr/>
            </a:pPr>
            <a: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rocess text and </a:t>
            </a:r>
            <a:b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earn how to recognize what users wa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E969B4-DCE3-49D1-A283-CE851767DA48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825" y="2870508"/>
            <a:ext cx="1138482" cy="1142676"/>
          </a:xfrm>
          <a:prstGeom prst="ellipse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9BFCF29-AE15-44DB-8239-E086782C646E}"/>
              </a:ext>
            </a:extLst>
          </p:cNvPr>
          <p:cNvSpPr txBox="1"/>
          <p:nvPr/>
        </p:nvSpPr>
        <p:spPr>
          <a:xfrm>
            <a:off x="8009046" y="3982259"/>
            <a:ext cx="1919696" cy="1298665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arch</a:t>
            </a:r>
          </a:p>
          <a:p>
            <a:pPr algn="ctr" defTabSz="913963">
              <a:lnSpc>
                <a:spcPct val="90000"/>
              </a:lnSpc>
              <a:spcAft>
                <a:spcPts val="574"/>
              </a:spcAft>
              <a:defRPr/>
            </a:pPr>
            <a:r>
              <a:rPr lang="en-US" sz="1200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ccess billions of web pages, images, videos, and news with the power of Bing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A1F6ADD-863C-4CC8-82F7-5FDED46E706C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9653" y="2870509"/>
            <a:ext cx="1138482" cy="1142676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39D354F-DFE1-4D1A-A9BB-EFAB8A8C2EAD}"/>
              </a:ext>
            </a:extLst>
          </p:cNvPr>
          <p:cNvSpPr txBox="1"/>
          <p:nvPr/>
        </p:nvSpPr>
        <p:spPr>
          <a:xfrm>
            <a:off x="270894" y="3982259"/>
            <a:ext cx="1919696" cy="1298665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Vision</a:t>
            </a:r>
          </a:p>
          <a:p>
            <a:pPr algn="ctr" defTabSz="913963">
              <a:lnSpc>
                <a:spcPct val="90000"/>
              </a:lnSpc>
              <a:spcAft>
                <a:spcPts val="574"/>
              </a:spcAft>
              <a:defRPr/>
            </a:pPr>
            <a:r>
              <a:rPr lang="en-US" sz="1200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From faces to feelings, allow your apps to understand images and video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04BBEA5-3BE7-4A1C-A248-A2437260A707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00" y="2870508"/>
            <a:ext cx="1138482" cy="1142676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B5CE148-D382-4CBD-8C97-2A282769FD9D}"/>
              </a:ext>
            </a:extLst>
          </p:cNvPr>
          <p:cNvSpPr txBox="1"/>
          <p:nvPr/>
        </p:nvSpPr>
        <p:spPr>
          <a:xfrm>
            <a:off x="2158308" y="3982258"/>
            <a:ext cx="2108191" cy="1298665"/>
          </a:xfrm>
          <a:prstGeom prst="rect">
            <a:avLst/>
          </a:prstGeom>
          <a:noFill/>
        </p:spPr>
        <p:txBody>
          <a:bodyPr wrap="square" lIns="179183" tIns="143347" rIns="89617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peech</a:t>
            </a:r>
          </a:p>
          <a:p>
            <a:pPr algn="ctr" defTabSz="913963">
              <a:lnSpc>
                <a:spcPct val="90000"/>
              </a:lnSpc>
              <a:spcAft>
                <a:spcPts val="574"/>
              </a:spcAft>
              <a:defRPr/>
            </a:pPr>
            <a: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ar and speak to your users by filtering noise, identifying speakers, </a:t>
            </a:r>
            <a:b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d understanding inten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41DD27C-FFAF-448F-9AD1-E3F708A995D5}"/>
              </a:ext>
            </a:extLst>
          </p:cNvPr>
          <p:cNvPicPr>
            <a:picLocks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254" y="2870508"/>
            <a:ext cx="1138299" cy="1142676"/>
          </a:xfrm>
          <a:prstGeom prst="ellipse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F8A386A5-8712-4774-A469-BBABE6FAF283}"/>
              </a:ext>
            </a:extLst>
          </p:cNvPr>
          <p:cNvGrpSpPr/>
          <p:nvPr/>
        </p:nvGrpSpPr>
        <p:grpSpPr>
          <a:xfrm>
            <a:off x="10284968" y="2883951"/>
            <a:ext cx="1142676" cy="1142676"/>
            <a:chOff x="10495195" y="2941204"/>
            <a:chExt cx="1165754" cy="1165754"/>
          </a:xfrm>
          <a:solidFill>
            <a:schemeClr val="bg1"/>
          </a:solidFill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1065815-C966-4508-BF15-1D5FB037C0A7}"/>
                </a:ext>
              </a:extLst>
            </p:cNvPr>
            <p:cNvSpPr/>
            <p:nvPr/>
          </p:nvSpPr>
          <p:spPr bwMode="auto">
            <a:xfrm>
              <a:off x="10495195" y="2941204"/>
              <a:ext cx="1165754" cy="1165754"/>
            </a:xfrm>
            <a:prstGeom prst="ellipse">
              <a:avLst/>
            </a:prstGeom>
            <a:grpFill/>
            <a:ln w="254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5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459919D-F1E7-418D-AF32-705CD6154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3874" y="3277342"/>
              <a:ext cx="428397" cy="493478"/>
            </a:xfrm>
            <a:custGeom>
              <a:avLst/>
              <a:gdLst>
                <a:gd name="T0" fmla="*/ 88 w 329"/>
                <a:gd name="T1" fmla="*/ 0 h 380"/>
                <a:gd name="T2" fmla="*/ 126 w 329"/>
                <a:gd name="T3" fmla="*/ 0 h 380"/>
                <a:gd name="T4" fmla="*/ 126 w 329"/>
                <a:gd name="T5" fmla="*/ 132 h 380"/>
                <a:gd name="T6" fmla="*/ 123 w 329"/>
                <a:gd name="T7" fmla="*/ 146 h 380"/>
                <a:gd name="T8" fmla="*/ 10 w 329"/>
                <a:gd name="T9" fmla="*/ 341 h 380"/>
                <a:gd name="T10" fmla="*/ 32 w 329"/>
                <a:gd name="T11" fmla="*/ 380 h 380"/>
                <a:gd name="T12" fmla="*/ 298 w 329"/>
                <a:gd name="T13" fmla="*/ 380 h 380"/>
                <a:gd name="T14" fmla="*/ 319 w 329"/>
                <a:gd name="T15" fmla="*/ 342 h 380"/>
                <a:gd name="T16" fmla="*/ 206 w 329"/>
                <a:gd name="T17" fmla="*/ 146 h 380"/>
                <a:gd name="T18" fmla="*/ 203 w 329"/>
                <a:gd name="T19" fmla="*/ 132 h 380"/>
                <a:gd name="T20" fmla="*/ 203 w 329"/>
                <a:gd name="T21" fmla="*/ 0 h 380"/>
                <a:gd name="T22" fmla="*/ 241 w 329"/>
                <a:gd name="T23" fmla="*/ 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9" h="380">
                  <a:moveTo>
                    <a:pt x="88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6" y="132"/>
                    <a:pt x="126" y="132"/>
                    <a:pt x="126" y="132"/>
                  </a:cubicBezTo>
                  <a:cubicBezTo>
                    <a:pt x="126" y="137"/>
                    <a:pt x="125" y="142"/>
                    <a:pt x="123" y="146"/>
                  </a:cubicBezTo>
                  <a:cubicBezTo>
                    <a:pt x="10" y="341"/>
                    <a:pt x="10" y="341"/>
                    <a:pt x="10" y="341"/>
                  </a:cubicBezTo>
                  <a:cubicBezTo>
                    <a:pt x="0" y="358"/>
                    <a:pt x="12" y="380"/>
                    <a:pt x="32" y="380"/>
                  </a:cubicBezTo>
                  <a:cubicBezTo>
                    <a:pt x="298" y="380"/>
                    <a:pt x="298" y="380"/>
                    <a:pt x="298" y="380"/>
                  </a:cubicBezTo>
                  <a:cubicBezTo>
                    <a:pt x="317" y="380"/>
                    <a:pt x="329" y="358"/>
                    <a:pt x="319" y="342"/>
                  </a:cubicBezTo>
                  <a:cubicBezTo>
                    <a:pt x="206" y="146"/>
                    <a:pt x="206" y="146"/>
                    <a:pt x="206" y="146"/>
                  </a:cubicBezTo>
                  <a:cubicBezTo>
                    <a:pt x="204" y="142"/>
                    <a:pt x="203" y="137"/>
                    <a:pt x="203" y="132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41" y="0"/>
                    <a:pt x="241" y="0"/>
                    <a:pt x="241" y="0"/>
                  </a:cubicBezTo>
                </a:path>
              </a:pathLst>
            </a:custGeom>
            <a:grpFill/>
            <a:ln w="5080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>
                <a:solidFill>
                  <a:srgbClr val="3F3F3F"/>
                </a:solidFill>
                <a:latin typeface="Segoe UI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F9D7749-590C-4B2A-A451-0C638655C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699" y="448698"/>
            <a:ext cx="10801919" cy="1107996"/>
          </a:xfrm>
        </p:spPr>
        <p:txBody>
          <a:bodyPr/>
          <a:lstStyle/>
          <a:p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Microsoft Cognitive Services</a:t>
            </a:r>
            <a:b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</a:br>
            <a:r>
              <a:rPr lang="en-US" sz="24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Give your apps a human side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10352644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2.22222E-6 L 0.04675 2.22222E-6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31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14" dur="75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19" dur="75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24" dur="75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29" dur="7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34" dur="75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39" dur="75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44" dur="7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49" dur="75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54" dur="75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59" dur="75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64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69" dur="75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7" grpId="1"/>
      <p:bldP spid="20" grpId="0"/>
      <p:bldP spid="20" grpId="1"/>
      <p:bldP spid="21" grpId="0"/>
      <p:bldP spid="21" grpId="1"/>
      <p:bldP spid="28" grpId="0"/>
      <p:bldP spid="28" grpId="1"/>
      <p:bldP spid="18" grpId="0"/>
      <p:bldP spid="18" grpId="1"/>
      <p:bldP spid="19" grpId="0"/>
      <p:bldP spid="19" grpId="1"/>
      <p:bldP spid="2" grpId="0"/>
      <p:bldP spid="2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95D1E38A-6F9F-46EB-BCF9-585090763F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669" b="47740"/>
          <a:stretch/>
        </p:blipFill>
        <p:spPr>
          <a:xfrm>
            <a:off x="1731" y="1459"/>
            <a:ext cx="12188542" cy="3320992"/>
          </a:xfrm>
          <a:prstGeom prst="rect">
            <a:avLst/>
          </a:prstGeom>
        </p:spPr>
      </p:pic>
      <p:sp>
        <p:nvSpPr>
          <p:cNvPr id="85" name="Oval 84">
            <a:extLst>
              <a:ext uri="{FF2B5EF4-FFF2-40B4-BE49-F238E27FC236}">
                <a16:creationId xmlns:a16="http://schemas.microsoft.com/office/drawing/2014/main" id="{DD9A00F2-AA90-4065-BD9F-665380EE2A7F}"/>
              </a:ext>
            </a:extLst>
          </p:cNvPr>
          <p:cNvSpPr/>
          <p:nvPr/>
        </p:nvSpPr>
        <p:spPr bwMode="auto">
          <a:xfrm>
            <a:off x="10405295" y="1152428"/>
            <a:ext cx="1142676" cy="1142676"/>
          </a:xfrm>
          <a:prstGeom prst="ellipse">
            <a:avLst/>
          </a:prstGeom>
          <a:solidFill>
            <a:srgbClr val="FFFFFF"/>
          </a:solidFill>
          <a:ln w="254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AB412D2-54DD-439B-94C6-415624C0BE91}"/>
              </a:ext>
            </a:extLst>
          </p:cNvPr>
          <p:cNvSpPr/>
          <p:nvPr/>
        </p:nvSpPr>
        <p:spPr bwMode="auto">
          <a:xfrm>
            <a:off x="866" y="974"/>
            <a:ext cx="12206461" cy="3321476"/>
          </a:xfrm>
          <a:prstGeom prst="rect">
            <a:avLst/>
          </a:prstGeom>
          <a:gradFill>
            <a:gsLst>
              <a:gs pos="13000">
                <a:schemeClr val="tx1">
                  <a:lumMod val="50000"/>
                  <a:alpha val="0"/>
                </a:schemeClr>
              </a:gs>
              <a:gs pos="83000">
                <a:schemeClr val="tx1">
                  <a:lumMod val="50000"/>
                </a:schemeClr>
              </a:gs>
            </a:gsLst>
            <a:lin ang="108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9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07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AF0E3DB-F4D3-44FD-B852-14C7019CA0EF}"/>
              </a:ext>
            </a:extLst>
          </p:cNvPr>
          <p:cNvSpPr/>
          <p:nvPr/>
        </p:nvSpPr>
        <p:spPr bwMode="auto">
          <a:xfrm>
            <a:off x="1488" y="1916462"/>
            <a:ext cx="12189648" cy="494105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8A5C6AE0-79FF-4CC7-BA3A-E57AC56D2CD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21" y="1098189"/>
            <a:ext cx="1138320" cy="1142514"/>
          </a:xfrm>
          <a:prstGeom prst="ellipse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470B6926-3E6B-403B-9E0F-89307D0436E5}"/>
              </a:ext>
            </a:extLst>
          </p:cNvPr>
          <p:cNvSpPr txBox="1"/>
          <p:nvPr/>
        </p:nvSpPr>
        <p:spPr>
          <a:xfrm>
            <a:off x="271770" y="2011225"/>
            <a:ext cx="1919424" cy="571926"/>
          </a:xfrm>
          <a:prstGeom prst="rect">
            <a:avLst/>
          </a:prstGeom>
          <a:noFill/>
        </p:spPr>
        <p:txBody>
          <a:bodyPr wrap="square" lIns="179158" tIns="143327" rIns="179158" bIns="143327" rtlCol="0" anchor="t">
            <a:spAutoFit/>
          </a:bodyPr>
          <a:lstStyle/>
          <a:p>
            <a:pPr algn="ctr" defTabSz="895526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000" b="1" dirty="0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Vision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E063805-C235-4BF1-BF9D-868D1357535D}"/>
              </a:ext>
            </a:extLst>
          </p:cNvPr>
          <p:cNvSpPr/>
          <p:nvPr/>
        </p:nvSpPr>
        <p:spPr bwMode="auto">
          <a:xfrm>
            <a:off x="335310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Computer Vision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6A617C5-96A0-4CA2-B1C6-187EBFDC462D}"/>
              </a:ext>
            </a:extLst>
          </p:cNvPr>
          <p:cNvSpPr/>
          <p:nvPr/>
        </p:nvSpPr>
        <p:spPr bwMode="auto">
          <a:xfrm>
            <a:off x="335310" y="324837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Face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44617CB-13B1-4885-B57F-DD0592AE7800}"/>
              </a:ext>
            </a:extLst>
          </p:cNvPr>
          <p:cNvSpPr/>
          <p:nvPr/>
        </p:nvSpPr>
        <p:spPr bwMode="auto">
          <a:xfrm>
            <a:off x="335310" y="3612313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Emotion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4405242-979F-4125-88E1-33A0912CAFC5}"/>
              </a:ext>
            </a:extLst>
          </p:cNvPr>
          <p:cNvSpPr/>
          <p:nvPr/>
        </p:nvSpPr>
        <p:spPr bwMode="auto">
          <a:xfrm>
            <a:off x="335310" y="397624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Content Moderator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BBF8C55-E783-4A9B-92B3-BF2331A84C17}"/>
              </a:ext>
            </a:extLst>
          </p:cNvPr>
          <p:cNvSpPr/>
          <p:nvPr/>
        </p:nvSpPr>
        <p:spPr bwMode="auto">
          <a:xfrm>
            <a:off x="335310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Video Indexer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44C93B6-DB2D-4276-AA54-086899D89FF4}"/>
              </a:ext>
            </a:extLst>
          </p:cNvPr>
          <p:cNvSpPr/>
          <p:nvPr/>
        </p:nvSpPr>
        <p:spPr bwMode="auto">
          <a:xfrm>
            <a:off x="335310" y="4340184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solidFill>
                  <a:srgbClr val="FF0000"/>
                </a:solidFill>
                <a:latin typeface="Segoe UI"/>
              </a:rPr>
              <a:t>Custom Vision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250FFDA4-4963-4D42-9976-8569E35D993C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383" y="1098188"/>
            <a:ext cx="1138320" cy="1142514"/>
          </a:xfrm>
          <a:prstGeom prst="ellipse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E547CF2B-A8FE-4D63-8D9E-D13BE1A31CD9}"/>
              </a:ext>
            </a:extLst>
          </p:cNvPr>
          <p:cNvSpPr txBox="1"/>
          <p:nvPr/>
        </p:nvSpPr>
        <p:spPr>
          <a:xfrm>
            <a:off x="4169831" y="2011224"/>
            <a:ext cx="1919424" cy="571926"/>
          </a:xfrm>
          <a:prstGeom prst="rect">
            <a:avLst/>
          </a:prstGeom>
          <a:noFill/>
        </p:spPr>
        <p:txBody>
          <a:bodyPr wrap="square" lIns="179158" tIns="143327" rIns="179158" bIns="143327" rtlCol="0" anchor="t">
            <a:spAutoFit/>
          </a:bodyPr>
          <a:lstStyle/>
          <a:p>
            <a:pPr algn="ctr" defTabSz="895526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000" b="1" dirty="0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anguage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40BC242-5C2F-4F14-B985-89EB2489BD9F}"/>
              </a:ext>
            </a:extLst>
          </p:cNvPr>
          <p:cNvSpPr/>
          <p:nvPr/>
        </p:nvSpPr>
        <p:spPr bwMode="auto">
          <a:xfrm>
            <a:off x="4233372" y="3612313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Language Understanding (LUIS)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9C8414B-F8CF-436B-872A-7011E4CA4A2E}"/>
              </a:ext>
            </a:extLst>
          </p:cNvPr>
          <p:cNvSpPr/>
          <p:nvPr/>
        </p:nvSpPr>
        <p:spPr bwMode="auto">
          <a:xfrm>
            <a:off x="4233372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ext Analytics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72D5F2F-5593-418C-90F7-C90DB32199D9}"/>
              </a:ext>
            </a:extLst>
          </p:cNvPr>
          <p:cNvSpPr/>
          <p:nvPr/>
        </p:nvSpPr>
        <p:spPr bwMode="auto">
          <a:xfrm>
            <a:off x="4233372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Spell Check 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ED78DDC7-60B1-4C31-ADCB-603FD644FCEA}"/>
              </a:ext>
            </a:extLst>
          </p:cNvPr>
          <p:cNvSpPr/>
          <p:nvPr/>
        </p:nvSpPr>
        <p:spPr bwMode="auto">
          <a:xfrm>
            <a:off x="4233372" y="324837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ranslator Text 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FB084A6E-5F97-4E1F-AEDA-DEBBDB5F208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8444" y="1098190"/>
            <a:ext cx="1138320" cy="1142514"/>
          </a:xfrm>
          <a:prstGeom prst="ellipse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1A682EE9-62ED-458D-99B2-F390CB6AEC13}"/>
              </a:ext>
            </a:extLst>
          </p:cNvPr>
          <p:cNvSpPr txBox="1"/>
          <p:nvPr/>
        </p:nvSpPr>
        <p:spPr>
          <a:xfrm>
            <a:off x="8067892" y="2011225"/>
            <a:ext cx="1919424" cy="571926"/>
          </a:xfrm>
          <a:prstGeom prst="rect">
            <a:avLst/>
          </a:prstGeom>
          <a:noFill/>
        </p:spPr>
        <p:txBody>
          <a:bodyPr wrap="square" lIns="179158" tIns="143327" rIns="179158" bIns="143327" rtlCol="0" anchor="t">
            <a:spAutoFit/>
          </a:bodyPr>
          <a:lstStyle/>
          <a:p>
            <a:pPr algn="ctr" defTabSz="895526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000" b="1" dirty="0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arch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FE30CE5-24F6-43C0-AFCD-F2E32E72DE0B}"/>
              </a:ext>
            </a:extLst>
          </p:cNvPr>
          <p:cNvSpPr/>
          <p:nvPr/>
        </p:nvSpPr>
        <p:spPr bwMode="auto">
          <a:xfrm>
            <a:off x="8131433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Autosuggest 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0BDD8B15-7FF0-4077-A4B3-5B9DD760B529}"/>
              </a:ext>
            </a:extLst>
          </p:cNvPr>
          <p:cNvSpPr/>
          <p:nvPr/>
        </p:nvSpPr>
        <p:spPr bwMode="auto">
          <a:xfrm>
            <a:off x="8131433" y="3248377"/>
            <a:ext cx="1792342" cy="181845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91427" rIns="89617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Search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BC45C1C-AB08-4F9A-84BA-B9887A6259CA}"/>
              </a:ext>
            </a:extLst>
          </p:cNvPr>
          <p:cNvSpPr/>
          <p:nvPr/>
        </p:nvSpPr>
        <p:spPr bwMode="auto">
          <a:xfrm>
            <a:off x="8131433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Entity Search 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448F8FB-246A-4679-AC20-994DE370B835}"/>
              </a:ext>
            </a:extLst>
          </p:cNvPr>
          <p:cNvSpPr/>
          <p:nvPr/>
        </p:nvSpPr>
        <p:spPr bwMode="auto">
          <a:xfrm>
            <a:off x="8131433" y="511303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Statistics add-in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8CF39BF8-E4A0-49FB-8659-5BE12B25B199}"/>
              </a:ext>
            </a:extLst>
          </p:cNvPr>
          <p:cNvPicPr>
            <a:picLocks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1445" y="1098189"/>
            <a:ext cx="1138138" cy="1142514"/>
          </a:xfrm>
          <a:prstGeom prst="ellipse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B3E7A367-18A1-4224-B12E-0B5AE1A4F2C7}"/>
              </a:ext>
            </a:extLst>
          </p:cNvPr>
          <p:cNvSpPr txBox="1"/>
          <p:nvPr/>
        </p:nvSpPr>
        <p:spPr>
          <a:xfrm>
            <a:off x="2220801" y="2011225"/>
            <a:ext cx="1919424" cy="571926"/>
          </a:xfrm>
          <a:prstGeom prst="rect">
            <a:avLst/>
          </a:prstGeom>
          <a:noFill/>
        </p:spPr>
        <p:txBody>
          <a:bodyPr wrap="square" lIns="179158" tIns="143327" rIns="89604" bIns="143327" rtlCol="0" anchor="t">
            <a:spAutoFit/>
          </a:bodyPr>
          <a:lstStyle/>
          <a:p>
            <a:pPr algn="ctr" defTabSz="895526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000" b="1" dirty="0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peech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12450A2-86B7-4F60-82E0-BE194D496CE1}"/>
              </a:ext>
            </a:extLst>
          </p:cNvPr>
          <p:cNvSpPr/>
          <p:nvPr/>
        </p:nvSpPr>
        <p:spPr bwMode="auto">
          <a:xfrm>
            <a:off x="2284342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Speaker Recognition 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4DEFA7D-B86C-4211-8F4B-238D755B3F82}"/>
              </a:ext>
            </a:extLst>
          </p:cNvPr>
          <p:cNvSpPr/>
          <p:nvPr/>
        </p:nvSpPr>
        <p:spPr bwMode="auto">
          <a:xfrm>
            <a:off x="2284342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Speech</a:t>
            </a:r>
          </a:p>
        </p:txBody>
      </p:sp>
      <p:sp>
        <p:nvSpPr>
          <p:cNvPr id="116" name="Freeform 5">
            <a:extLst>
              <a:ext uri="{FF2B5EF4-FFF2-40B4-BE49-F238E27FC236}">
                <a16:creationId xmlns:a16="http://schemas.microsoft.com/office/drawing/2014/main" id="{0A2DD7CB-4FF4-4E6B-B200-EF4A454EF3D2}"/>
              </a:ext>
            </a:extLst>
          </p:cNvPr>
          <p:cNvSpPr>
            <a:spLocks/>
          </p:cNvSpPr>
          <p:nvPr/>
        </p:nvSpPr>
        <p:spPr bwMode="auto">
          <a:xfrm>
            <a:off x="10766705" y="1441066"/>
            <a:ext cx="419856" cy="483640"/>
          </a:xfrm>
          <a:custGeom>
            <a:avLst/>
            <a:gdLst>
              <a:gd name="T0" fmla="*/ 88 w 329"/>
              <a:gd name="T1" fmla="*/ 0 h 380"/>
              <a:gd name="T2" fmla="*/ 126 w 329"/>
              <a:gd name="T3" fmla="*/ 0 h 380"/>
              <a:gd name="T4" fmla="*/ 126 w 329"/>
              <a:gd name="T5" fmla="*/ 132 h 380"/>
              <a:gd name="T6" fmla="*/ 123 w 329"/>
              <a:gd name="T7" fmla="*/ 146 h 380"/>
              <a:gd name="T8" fmla="*/ 10 w 329"/>
              <a:gd name="T9" fmla="*/ 341 h 380"/>
              <a:gd name="T10" fmla="*/ 32 w 329"/>
              <a:gd name="T11" fmla="*/ 380 h 380"/>
              <a:gd name="T12" fmla="*/ 298 w 329"/>
              <a:gd name="T13" fmla="*/ 380 h 380"/>
              <a:gd name="T14" fmla="*/ 319 w 329"/>
              <a:gd name="T15" fmla="*/ 342 h 380"/>
              <a:gd name="T16" fmla="*/ 206 w 329"/>
              <a:gd name="T17" fmla="*/ 146 h 380"/>
              <a:gd name="T18" fmla="*/ 203 w 329"/>
              <a:gd name="T19" fmla="*/ 132 h 380"/>
              <a:gd name="T20" fmla="*/ 203 w 329"/>
              <a:gd name="T21" fmla="*/ 0 h 380"/>
              <a:gd name="T22" fmla="*/ 241 w 329"/>
              <a:gd name="T23" fmla="*/ 0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9" h="380">
                <a:moveTo>
                  <a:pt x="88" y="0"/>
                </a:moveTo>
                <a:cubicBezTo>
                  <a:pt x="126" y="0"/>
                  <a:pt x="126" y="0"/>
                  <a:pt x="126" y="0"/>
                </a:cubicBezTo>
                <a:cubicBezTo>
                  <a:pt x="126" y="132"/>
                  <a:pt x="126" y="132"/>
                  <a:pt x="126" y="132"/>
                </a:cubicBezTo>
                <a:cubicBezTo>
                  <a:pt x="126" y="137"/>
                  <a:pt x="125" y="142"/>
                  <a:pt x="123" y="146"/>
                </a:cubicBezTo>
                <a:cubicBezTo>
                  <a:pt x="10" y="341"/>
                  <a:pt x="10" y="341"/>
                  <a:pt x="10" y="341"/>
                </a:cubicBezTo>
                <a:cubicBezTo>
                  <a:pt x="0" y="358"/>
                  <a:pt x="12" y="380"/>
                  <a:pt x="32" y="380"/>
                </a:cubicBezTo>
                <a:cubicBezTo>
                  <a:pt x="298" y="380"/>
                  <a:pt x="298" y="380"/>
                  <a:pt x="298" y="380"/>
                </a:cubicBezTo>
                <a:cubicBezTo>
                  <a:pt x="317" y="380"/>
                  <a:pt x="329" y="358"/>
                  <a:pt x="319" y="342"/>
                </a:cubicBezTo>
                <a:cubicBezTo>
                  <a:pt x="206" y="146"/>
                  <a:pt x="206" y="146"/>
                  <a:pt x="206" y="146"/>
                </a:cubicBezTo>
                <a:cubicBezTo>
                  <a:pt x="204" y="142"/>
                  <a:pt x="203" y="137"/>
                  <a:pt x="203" y="132"/>
                </a:cubicBezTo>
                <a:cubicBezTo>
                  <a:pt x="203" y="0"/>
                  <a:pt x="203" y="0"/>
                  <a:pt x="203" y="0"/>
                </a:cubicBezTo>
                <a:cubicBezTo>
                  <a:pt x="241" y="0"/>
                  <a:pt x="241" y="0"/>
                  <a:pt x="241" y="0"/>
                </a:cubicBezTo>
              </a:path>
            </a:pathLst>
          </a:custGeom>
          <a:noFill/>
          <a:ln w="50800" cap="sq">
            <a:solidFill>
              <a:schemeClr val="accent4">
                <a:lumMod val="7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7" tIns="44808" rIns="89617" bIns="44808" numCol="1" anchor="t" anchorCtr="0" compatLnSpc="1">
            <a:prstTxWarp prst="textNoShape">
              <a:avLst/>
            </a:prstTxWarp>
          </a:bodyPr>
          <a:lstStyle/>
          <a:p>
            <a:pPr defTabSz="913963">
              <a:defRPr/>
            </a:pPr>
            <a:endParaRPr lang="en-US">
              <a:solidFill>
                <a:srgbClr val="3F3F3F"/>
              </a:solidFill>
              <a:latin typeface="Segoe UI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B549282-3F4C-4DAD-9BAF-C141EFBEC1C9}"/>
              </a:ext>
            </a:extLst>
          </p:cNvPr>
          <p:cNvSpPr txBox="1"/>
          <p:nvPr/>
        </p:nvSpPr>
        <p:spPr>
          <a:xfrm>
            <a:off x="10016921" y="2022724"/>
            <a:ext cx="1919424" cy="571926"/>
          </a:xfrm>
          <a:prstGeom prst="rect">
            <a:avLst/>
          </a:prstGeom>
          <a:noFill/>
        </p:spPr>
        <p:txBody>
          <a:bodyPr wrap="square" lIns="179158" tIns="143327" rIns="179158" bIns="143327" rtlCol="0" anchor="t">
            <a:spAutoFit/>
          </a:bodyPr>
          <a:lstStyle/>
          <a:p>
            <a:pPr algn="ctr" defTabSz="895526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000" b="1" dirty="0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abs</a:t>
            </a:r>
            <a:endParaRPr lang="en-US" sz="2400" b="1" dirty="0">
              <a:gradFill>
                <a:gsLst>
                  <a:gs pos="64545">
                    <a:srgbClr val="353535"/>
                  </a:gs>
                  <a:gs pos="40000">
                    <a:srgbClr val="353535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D13675C5-E9D1-4D28-A6C7-A62E6F805F8D}"/>
              </a:ext>
            </a:extLst>
          </p:cNvPr>
          <p:cNvSpPr/>
          <p:nvPr/>
        </p:nvSpPr>
        <p:spPr bwMode="auto">
          <a:xfrm>
            <a:off x="10080462" y="324837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Academic Knowledge 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43D32E0-191E-46D6-BFF0-5828471985B0}"/>
              </a:ext>
            </a:extLst>
          </p:cNvPr>
          <p:cNvSpPr/>
          <p:nvPr/>
        </p:nvSpPr>
        <p:spPr bwMode="auto">
          <a:xfrm>
            <a:off x="10080462" y="3612313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Entity Linking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0270639-0586-47E3-9187-A50E6330D3D7}"/>
              </a:ext>
            </a:extLst>
          </p:cNvPr>
          <p:cNvSpPr/>
          <p:nvPr/>
        </p:nvSpPr>
        <p:spPr bwMode="auto">
          <a:xfrm>
            <a:off x="10080462" y="397624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Knowledge </a:t>
            </a:r>
            <a:b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Exploration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D94F6B1-A562-497D-A83E-05BE67390DD7}"/>
              </a:ext>
            </a:extLst>
          </p:cNvPr>
          <p:cNvSpPr/>
          <p:nvPr/>
        </p:nvSpPr>
        <p:spPr bwMode="auto">
          <a:xfrm>
            <a:off x="10080462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Gestur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9503FB2-2D49-40D0-878C-F953287995DB}"/>
              </a:ext>
            </a:extLst>
          </p:cNvPr>
          <p:cNvSpPr/>
          <p:nvPr/>
        </p:nvSpPr>
        <p:spPr bwMode="auto">
          <a:xfrm>
            <a:off x="10080462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Local Insight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8AEB21D-5BE8-4E92-B18E-F6378338F81A}"/>
              </a:ext>
            </a:extLst>
          </p:cNvPr>
          <p:cNvSpPr/>
          <p:nvPr/>
        </p:nvSpPr>
        <p:spPr bwMode="auto">
          <a:xfrm>
            <a:off x="10080462" y="4340184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Event Tracking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9DC9C2A2-ADE1-4D42-A7B9-9437BECCF47D}"/>
              </a:ext>
            </a:extLst>
          </p:cNvPr>
          <p:cNvSpPr/>
          <p:nvPr/>
        </p:nvSpPr>
        <p:spPr bwMode="auto">
          <a:xfrm>
            <a:off x="8131433" y="54852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Visual Search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C3DC13D-3819-4377-B0EE-6CDF9A6B0C2C}"/>
              </a:ext>
            </a:extLst>
          </p:cNvPr>
          <p:cNvSpPr/>
          <p:nvPr/>
        </p:nvSpPr>
        <p:spPr bwMode="auto">
          <a:xfrm>
            <a:off x="8131433" y="5857373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solidFill>
                  <a:srgbClr val="FF0000"/>
                </a:solidFill>
                <a:latin typeface="Segoe UI"/>
              </a:rPr>
              <a:t>Bing Custom Search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BC83791-64A1-434E-AFDC-D7582ED83465}"/>
              </a:ext>
            </a:extLst>
          </p:cNvPr>
          <p:cNvSpPr/>
          <p:nvPr/>
        </p:nvSpPr>
        <p:spPr bwMode="auto">
          <a:xfrm>
            <a:off x="2284342" y="3979891"/>
            <a:ext cx="1792342" cy="149234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91427" rIns="89617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Unified Speech</a:t>
            </a:r>
          </a:p>
          <a:p>
            <a:pPr algn="ctr" defTabSz="860568">
              <a:lnSpc>
                <a:spcPct val="90000"/>
              </a:lnSpc>
              <a:defRPr/>
            </a:pPr>
            <a:endParaRPr lang="en-US" sz="1050" i="1" kern="0" dirty="0">
              <a:gradFill>
                <a:gsLst>
                  <a:gs pos="1250">
                    <a:srgbClr val="1A1A1A"/>
                  </a:gs>
                  <a:gs pos="10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B395C40-7D2A-4538-8A74-2FF6077B9C99}"/>
              </a:ext>
            </a:extLst>
          </p:cNvPr>
          <p:cNvSpPr/>
          <p:nvPr/>
        </p:nvSpPr>
        <p:spPr bwMode="auto">
          <a:xfrm>
            <a:off x="10080462" y="470411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Answer Search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4CA12EF-836C-4C02-A5AD-29B617346954}"/>
              </a:ext>
            </a:extLst>
          </p:cNvPr>
          <p:cNvSpPr/>
          <p:nvPr/>
        </p:nvSpPr>
        <p:spPr bwMode="auto">
          <a:xfrm>
            <a:off x="10080462" y="5068054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URL Preview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E004AFC3-AD7C-4ED9-802F-31B26FD46231}"/>
              </a:ext>
            </a:extLst>
          </p:cNvPr>
          <p:cNvSpPr/>
          <p:nvPr/>
        </p:nvSpPr>
        <p:spPr bwMode="auto">
          <a:xfrm>
            <a:off x="10080462" y="5431990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Anomaly Finder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75781BE-F171-4C59-9510-4108FAACA621}"/>
              </a:ext>
            </a:extLst>
          </p:cNvPr>
          <p:cNvSpPr/>
          <p:nvPr/>
        </p:nvSpPr>
        <p:spPr bwMode="auto">
          <a:xfrm>
            <a:off x="10080462" y="5795925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Conversation Learner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2AFC0429-EAE8-444C-A9CC-E95833F70C86}"/>
              </a:ext>
            </a:extLst>
          </p:cNvPr>
          <p:cNvSpPr/>
          <p:nvPr/>
        </p:nvSpPr>
        <p:spPr bwMode="auto">
          <a:xfrm>
            <a:off x="10080462" y="6159864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Personality Chat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74E3ABB0-B3B0-4F34-8525-A267302C84F2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413" y="1098191"/>
            <a:ext cx="1138320" cy="1142515"/>
          </a:xfrm>
          <a:prstGeom prst="ellipse">
            <a:avLst/>
          </a:prstGeom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E725439F-9E32-414F-840B-D214B4BE44E7}"/>
              </a:ext>
            </a:extLst>
          </p:cNvPr>
          <p:cNvSpPr txBox="1"/>
          <p:nvPr/>
        </p:nvSpPr>
        <p:spPr>
          <a:xfrm>
            <a:off x="6118861" y="2011224"/>
            <a:ext cx="1919424" cy="571926"/>
          </a:xfrm>
          <a:prstGeom prst="rect">
            <a:avLst/>
          </a:prstGeom>
          <a:noFill/>
        </p:spPr>
        <p:txBody>
          <a:bodyPr wrap="square" lIns="179158" tIns="143327" rIns="179158" bIns="143327" rtlCol="0" anchor="t">
            <a:spAutoFit/>
          </a:bodyPr>
          <a:lstStyle>
            <a:defPPr>
              <a:defRPr lang="en-US"/>
            </a:defPPr>
            <a:lvl1pPr algn="ctr" defTabSz="913873">
              <a:lnSpc>
                <a:spcPct val="90000"/>
              </a:lnSpc>
              <a:spcAft>
                <a:spcPts val="600"/>
              </a:spcAft>
              <a:defRPr sz="2000" b="1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895526">
              <a:spcAft>
                <a:spcPts val="588"/>
              </a:spcAft>
              <a:defRPr/>
            </a:pPr>
            <a:r>
              <a:rPr lang="en-US" dirty="0"/>
              <a:t>Knowledge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1A42B609-CBBE-43E8-88D1-1EF28250ACA4}"/>
              </a:ext>
            </a:extLst>
          </p:cNvPr>
          <p:cNvSpPr/>
          <p:nvPr/>
        </p:nvSpPr>
        <p:spPr bwMode="auto">
          <a:xfrm>
            <a:off x="6182402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</a:gradFill>
                <a:latin typeface="Segoe UI"/>
              </a:rPr>
              <a:t>Azure Search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24D2724F-9414-485C-A1FD-736D1BE3F249}"/>
              </a:ext>
            </a:extLst>
          </p:cNvPr>
          <p:cNvSpPr/>
          <p:nvPr/>
        </p:nvSpPr>
        <p:spPr bwMode="auto">
          <a:xfrm>
            <a:off x="6182402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 dirty="0" err="1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</a:gradFill>
                <a:latin typeface="Segoe UI"/>
              </a:rPr>
              <a:t>QnA</a:t>
            </a: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</a:gradFill>
                <a:latin typeface="Segoe UI"/>
              </a:rPr>
              <a:t> Mak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0090B6-123B-4731-9878-A4C8A5422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" y="132522"/>
            <a:ext cx="11018520" cy="751997"/>
          </a:xfrm>
        </p:spPr>
        <p:txBody>
          <a:bodyPr/>
          <a:lstStyle/>
          <a:p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Microsoft Cognitive Services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59542B6-F237-43C5-B6AF-ACA295F2BC1D}"/>
              </a:ext>
            </a:extLst>
          </p:cNvPr>
          <p:cNvSpPr/>
          <p:nvPr/>
        </p:nvSpPr>
        <p:spPr bwMode="auto">
          <a:xfrm>
            <a:off x="2284341" y="324837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0" scaled="0"/>
                </a:gradFill>
                <a:latin typeface="Segoe UI"/>
              </a:rPr>
              <a:t>Custom Speech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50A1391-8F0A-41D2-A737-43FB9C377BD9}"/>
              </a:ext>
            </a:extLst>
          </p:cNvPr>
          <p:cNvSpPr/>
          <p:nvPr/>
        </p:nvSpPr>
        <p:spPr bwMode="auto">
          <a:xfrm>
            <a:off x="2284341" y="3612313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0" scaled="0"/>
                </a:gradFill>
                <a:latin typeface="Segoe UI"/>
              </a:rPr>
              <a:t>Translator Speech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A151BED-BC15-4A50-BB02-C12666F0661B}"/>
              </a:ext>
            </a:extLst>
          </p:cNvPr>
          <p:cNvSpPr/>
          <p:nvPr/>
        </p:nvSpPr>
        <p:spPr bwMode="auto">
          <a:xfrm>
            <a:off x="2450730" y="4304941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Speech to Text</a:t>
            </a:r>
            <a:b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80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. </a:t>
            </a:r>
            <a:r>
              <a:rPr lang="en-US" sz="800" kern="0" dirty="0">
                <a:solidFill>
                  <a:srgbClr val="FF0000"/>
                </a:solidFill>
                <a:latin typeface="Segoe UI"/>
              </a:rPr>
              <a:t>Custom Speech</a:t>
            </a:r>
            <a:endParaRPr lang="en-US" sz="400" i="1" kern="0" dirty="0">
              <a:solidFill>
                <a:srgbClr val="FF0000"/>
              </a:solidFill>
              <a:latin typeface="Segoe UI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191B230-F477-4146-97E2-2D0C5B809D53}"/>
              </a:ext>
            </a:extLst>
          </p:cNvPr>
          <p:cNvSpPr/>
          <p:nvPr/>
        </p:nvSpPr>
        <p:spPr bwMode="auto">
          <a:xfrm>
            <a:off x="2450730" y="4660178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ext to Speech</a:t>
            </a:r>
            <a:b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80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. </a:t>
            </a:r>
            <a:r>
              <a:rPr lang="en-US" sz="800" kern="0" dirty="0">
                <a:solidFill>
                  <a:srgbClr val="FF0000"/>
                </a:solidFill>
                <a:latin typeface="Segoe UI"/>
              </a:rPr>
              <a:t>Custom Voice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4B1B1AA-D64A-45BF-A0D9-8558B448D6C4}"/>
              </a:ext>
            </a:extLst>
          </p:cNvPr>
          <p:cNvSpPr/>
          <p:nvPr/>
        </p:nvSpPr>
        <p:spPr bwMode="auto">
          <a:xfrm>
            <a:off x="2450730" y="5015415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Speech Translation</a:t>
            </a:r>
            <a:b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80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. </a:t>
            </a:r>
            <a:r>
              <a:rPr lang="en-US" sz="800" kern="0" dirty="0">
                <a:solidFill>
                  <a:srgbClr val="FF0000"/>
                </a:solidFill>
                <a:latin typeface="Segoe UI"/>
              </a:rPr>
              <a:t>Custom Translator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A6ECC83B-95EB-462C-9D52-6562B10749D5}"/>
              </a:ext>
            </a:extLst>
          </p:cNvPr>
          <p:cNvSpPr/>
          <p:nvPr/>
        </p:nvSpPr>
        <p:spPr bwMode="auto">
          <a:xfrm>
            <a:off x="8303945" y="3569756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eb Search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7DE40E1-0CC7-489C-B462-48E192AFCCAC}"/>
              </a:ext>
            </a:extLst>
          </p:cNvPr>
          <p:cNvSpPr/>
          <p:nvPr/>
        </p:nvSpPr>
        <p:spPr bwMode="auto">
          <a:xfrm>
            <a:off x="8303945" y="3927122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Image Search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4D3797F0-B0A4-461A-90EC-D330A94E988A}"/>
              </a:ext>
            </a:extLst>
          </p:cNvPr>
          <p:cNvSpPr/>
          <p:nvPr/>
        </p:nvSpPr>
        <p:spPr bwMode="auto">
          <a:xfrm>
            <a:off x="8303945" y="4284488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News Search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8EDD47C-4873-469A-8EAA-72CA50BA4780}"/>
              </a:ext>
            </a:extLst>
          </p:cNvPr>
          <p:cNvSpPr/>
          <p:nvPr/>
        </p:nvSpPr>
        <p:spPr bwMode="auto">
          <a:xfrm>
            <a:off x="8303945" y="4641854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Video Search</a:t>
            </a:r>
            <a:endParaRPr lang="en-US" sz="1100" kern="0" dirty="0">
              <a:gradFill>
                <a:gsLst>
                  <a:gs pos="1250">
                    <a:srgbClr val="1A1A1A"/>
                  </a:gs>
                  <a:gs pos="10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2A5EC76-7BEA-E54D-8632-AFA3FD934D49}"/>
              </a:ext>
            </a:extLst>
          </p:cNvPr>
          <p:cNvSpPr/>
          <p:nvPr/>
        </p:nvSpPr>
        <p:spPr bwMode="auto">
          <a:xfrm>
            <a:off x="4233370" y="399570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solidFill>
                  <a:srgbClr val="FF0000"/>
                </a:solidFill>
                <a:latin typeface="Segoe UI"/>
              </a:rPr>
              <a:t>Custom Vision</a:t>
            </a:r>
          </a:p>
        </p:txBody>
      </p:sp>
    </p:spTree>
    <p:extLst>
      <p:ext uri="{BB962C8B-B14F-4D97-AF65-F5344CB8AC3E}">
        <p14:creationId xmlns:p14="http://schemas.microsoft.com/office/powerpoint/2010/main" val="2930613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36178E-8 L 0.04672 -1.36178E-8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3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>
            <a:extLst>
              <a:ext uri="{FF2B5EF4-FFF2-40B4-BE49-F238E27FC236}">
                <a16:creationId xmlns:a16="http://schemas.microsoft.com/office/drawing/2014/main" id="{84C1C574-B008-439B-A29B-CE925E8400B7}"/>
              </a:ext>
            </a:extLst>
          </p:cNvPr>
          <p:cNvSpPr/>
          <p:nvPr/>
        </p:nvSpPr>
        <p:spPr bwMode="auto">
          <a:xfrm>
            <a:off x="149068" y="1345193"/>
            <a:ext cx="1538006" cy="394046"/>
          </a:xfrm>
          <a:prstGeom prst="rect">
            <a:avLst/>
          </a:prstGeom>
        </p:spPr>
        <p:txBody>
          <a:bodyPr vert="horz" wrap="square" lIns="91427" tIns="45713" rIns="91427" bIns="45713" rtlCol="0" anchor="t">
            <a:spAutoFit/>
          </a:bodyPr>
          <a:lstStyle/>
          <a:p>
            <a:pPr algn="ctr" defTabSz="932563">
              <a:spcBef>
                <a:spcPct val="0"/>
              </a:spcBef>
            </a:pPr>
            <a:r>
              <a:rPr lang="en-US" sz="1961" dirty="0">
                <a:ln w="3175">
                  <a:noFill/>
                </a:ln>
                <a:solidFill>
                  <a:srgbClr val="D83B01"/>
                </a:solidFill>
                <a:latin typeface="Segoe UI Semibold"/>
              </a:rPr>
              <a:t>Document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65CD6A4-CC70-45B2-ACEB-C377E91BBA4C}"/>
              </a:ext>
            </a:extLst>
          </p:cNvPr>
          <p:cNvSpPr/>
          <p:nvPr/>
        </p:nvSpPr>
        <p:spPr bwMode="auto">
          <a:xfrm>
            <a:off x="5009505" y="1345194"/>
            <a:ext cx="1783685" cy="695817"/>
          </a:xfrm>
          <a:prstGeom prst="rect">
            <a:avLst/>
          </a:prstGeom>
        </p:spPr>
        <p:txBody>
          <a:bodyPr vert="horz" wrap="square" lIns="91427" tIns="45713" rIns="91427" bIns="45713" rtlCol="0" anchor="t">
            <a:spAutoFit/>
          </a:bodyPr>
          <a:lstStyle/>
          <a:p>
            <a:pPr algn="ctr" defTabSz="932563">
              <a:spcBef>
                <a:spcPct val="0"/>
              </a:spcBef>
              <a:defRPr/>
            </a:pPr>
            <a:r>
              <a:rPr lang="en-US" sz="1961" dirty="0">
                <a:ln w="3175">
                  <a:noFill/>
                </a:ln>
                <a:solidFill>
                  <a:srgbClr val="D83B01"/>
                </a:solidFill>
                <a:latin typeface="Segoe UI Semibold"/>
                <a:cs typeface="Segoe UI Light" panose="020B0502040204020203" pitchFamily="34" charset="0"/>
              </a:rPr>
              <a:t>AI Component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DF71690-0027-43FD-94B3-4391735E7175}"/>
              </a:ext>
            </a:extLst>
          </p:cNvPr>
          <p:cNvSpPr/>
          <p:nvPr/>
        </p:nvSpPr>
        <p:spPr bwMode="auto">
          <a:xfrm>
            <a:off x="9561390" y="1345194"/>
            <a:ext cx="2130977" cy="997498"/>
          </a:xfrm>
          <a:prstGeom prst="rect">
            <a:avLst/>
          </a:prstGeom>
        </p:spPr>
        <p:txBody>
          <a:bodyPr vert="horz" wrap="square" lIns="91427" tIns="45713" rIns="91427" bIns="45713" rtlCol="0" anchor="t">
            <a:spAutoFit/>
          </a:bodyPr>
          <a:lstStyle/>
          <a:p>
            <a:pPr algn="ctr" defTabSz="932563">
              <a:spcBef>
                <a:spcPct val="0"/>
              </a:spcBef>
            </a:pPr>
            <a:r>
              <a:rPr lang="en-US" sz="1961" dirty="0">
                <a:ln w="3175">
                  <a:noFill/>
                </a:ln>
                <a:solidFill>
                  <a:srgbClr val="D83B01"/>
                </a:solidFill>
                <a:latin typeface="Segoe UI Semibold"/>
              </a:rPr>
              <a:t>Full text-searchable rich index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572A94-1604-45DD-BEC1-D6C9027BA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Knowledge Mining with Azure Search</a:t>
            </a:r>
          </a:p>
        </p:txBody>
      </p:sp>
      <p:sp>
        <p:nvSpPr>
          <p:cNvPr id="28" name="Arrow: Chevron 2">
            <a:extLst>
              <a:ext uri="{FF2B5EF4-FFF2-40B4-BE49-F238E27FC236}">
                <a16:creationId xmlns:a16="http://schemas.microsoft.com/office/drawing/2014/main" id="{826EE199-3DB5-4222-9C55-BE01C4F8418C}"/>
              </a:ext>
            </a:extLst>
          </p:cNvPr>
          <p:cNvSpPr/>
          <p:nvPr/>
        </p:nvSpPr>
        <p:spPr bwMode="auto">
          <a:xfrm>
            <a:off x="9242755" y="2826957"/>
            <a:ext cx="442623" cy="2071027"/>
          </a:xfrm>
          <a:custGeom>
            <a:avLst/>
            <a:gdLst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5" fmla="*/ 641382 w 886990"/>
              <a:gd name="connsiteY5" fmla="*/ 1305351 h 2610702"/>
              <a:gd name="connsiteX6" fmla="*/ 0 w 886990"/>
              <a:gd name="connsiteY6" fmla="*/ 0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6" fmla="*/ 732822 w 886990"/>
              <a:gd name="connsiteY6" fmla="*/ 1396791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0" fmla="*/ 0 w 641382"/>
              <a:gd name="connsiteY0" fmla="*/ 0 h 2610702"/>
              <a:gd name="connsiteX1" fmla="*/ 641382 w 641382"/>
              <a:gd name="connsiteY1" fmla="*/ 1305351 h 2610702"/>
              <a:gd name="connsiteX2" fmla="*/ 0 w 641382"/>
              <a:gd name="connsiteY2" fmla="*/ 2610702 h 261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382" h="2610702">
                <a:moveTo>
                  <a:pt x="0" y="0"/>
                </a:moveTo>
                <a:lnTo>
                  <a:pt x="641382" y="1305351"/>
                </a:lnTo>
                <a:lnTo>
                  <a:pt x="0" y="2610702"/>
                </a:lnTo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Arrow: Chevron 2">
            <a:extLst>
              <a:ext uri="{FF2B5EF4-FFF2-40B4-BE49-F238E27FC236}">
                <a16:creationId xmlns:a16="http://schemas.microsoft.com/office/drawing/2014/main" id="{67F233F6-DB84-489F-B54D-33992F9B8BAE}"/>
              </a:ext>
            </a:extLst>
          </p:cNvPr>
          <p:cNvSpPr/>
          <p:nvPr/>
        </p:nvSpPr>
        <p:spPr bwMode="auto">
          <a:xfrm>
            <a:off x="1919399" y="2892340"/>
            <a:ext cx="442623" cy="2071027"/>
          </a:xfrm>
          <a:custGeom>
            <a:avLst/>
            <a:gdLst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5" fmla="*/ 641382 w 886990"/>
              <a:gd name="connsiteY5" fmla="*/ 1305351 h 2610702"/>
              <a:gd name="connsiteX6" fmla="*/ 0 w 886990"/>
              <a:gd name="connsiteY6" fmla="*/ 0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6" fmla="*/ 732822 w 886990"/>
              <a:gd name="connsiteY6" fmla="*/ 1396791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0" fmla="*/ 0 w 641382"/>
              <a:gd name="connsiteY0" fmla="*/ 0 h 2610702"/>
              <a:gd name="connsiteX1" fmla="*/ 641382 w 641382"/>
              <a:gd name="connsiteY1" fmla="*/ 1305351 h 2610702"/>
              <a:gd name="connsiteX2" fmla="*/ 0 w 641382"/>
              <a:gd name="connsiteY2" fmla="*/ 2610702 h 261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382" h="2610702">
                <a:moveTo>
                  <a:pt x="0" y="0"/>
                </a:moveTo>
                <a:lnTo>
                  <a:pt x="641382" y="1305351"/>
                </a:lnTo>
                <a:lnTo>
                  <a:pt x="0" y="2610702"/>
                </a:lnTo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Freeform 5">
            <a:extLst>
              <a:ext uri="{FF2B5EF4-FFF2-40B4-BE49-F238E27FC236}">
                <a16:creationId xmlns:a16="http://schemas.microsoft.com/office/drawing/2014/main" id="{37651D3D-BFB2-4F81-8D27-2E72C8BA66B0}"/>
              </a:ext>
            </a:extLst>
          </p:cNvPr>
          <p:cNvSpPr>
            <a:spLocks noEditPoints="1"/>
          </p:cNvSpPr>
          <p:nvPr/>
        </p:nvSpPr>
        <p:spPr bwMode="auto">
          <a:xfrm>
            <a:off x="5735464" y="2033717"/>
            <a:ext cx="222239" cy="355469"/>
          </a:xfrm>
          <a:custGeom>
            <a:avLst/>
            <a:gdLst>
              <a:gd name="T0" fmla="*/ 2132 w 2244"/>
              <a:gd name="T1" fmla="*/ 1570 h 3590"/>
              <a:gd name="T2" fmla="*/ 1122 w 2244"/>
              <a:gd name="T3" fmla="*/ 3590 h 3590"/>
              <a:gd name="T4" fmla="*/ 112 w 2244"/>
              <a:gd name="T5" fmla="*/ 1570 h 3590"/>
              <a:gd name="T6" fmla="*/ 0 w 2244"/>
              <a:gd name="T7" fmla="*/ 1122 h 3590"/>
              <a:gd name="T8" fmla="*/ 1122 w 2244"/>
              <a:gd name="T9" fmla="*/ 0 h 3590"/>
              <a:gd name="T10" fmla="*/ 2244 w 2244"/>
              <a:gd name="T11" fmla="*/ 1122 h 3590"/>
              <a:gd name="T12" fmla="*/ 2132 w 2244"/>
              <a:gd name="T13" fmla="*/ 1570 h 3590"/>
              <a:gd name="T14" fmla="*/ 1122 w 2244"/>
              <a:gd name="T15" fmla="*/ 504 h 3590"/>
              <a:gd name="T16" fmla="*/ 501 w 2244"/>
              <a:gd name="T17" fmla="*/ 1125 h 3590"/>
              <a:gd name="T18" fmla="*/ 1122 w 2244"/>
              <a:gd name="T19" fmla="*/ 1746 h 3590"/>
              <a:gd name="T20" fmla="*/ 1743 w 2244"/>
              <a:gd name="T21" fmla="*/ 1125 h 3590"/>
              <a:gd name="T22" fmla="*/ 1122 w 2244"/>
              <a:gd name="T23" fmla="*/ 50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44" h="3590">
                <a:moveTo>
                  <a:pt x="2132" y="1570"/>
                </a:moveTo>
                <a:cubicBezTo>
                  <a:pt x="1122" y="3590"/>
                  <a:pt x="1122" y="3590"/>
                  <a:pt x="1122" y="3590"/>
                </a:cubicBezTo>
                <a:cubicBezTo>
                  <a:pt x="112" y="1570"/>
                  <a:pt x="112" y="1570"/>
                  <a:pt x="112" y="1570"/>
                </a:cubicBezTo>
                <a:cubicBezTo>
                  <a:pt x="41" y="1432"/>
                  <a:pt x="0" y="1281"/>
                  <a:pt x="0" y="1122"/>
                </a:cubicBezTo>
                <a:cubicBezTo>
                  <a:pt x="0" y="502"/>
                  <a:pt x="502" y="0"/>
                  <a:pt x="1122" y="0"/>
                </a:cubicBezTo>
                <a:cubicBezTo>
                  <a:pt x="1742" y="0"/>
                  <a:pt x="2244" y="502"/>
                  <a:pt x="2244" y="1122"/>
                </a:cubicBezTo>
                <a:cubicBezTo>
                  <a:pt x="2244" y="1281"/>
                  <a:pt x="2203" y="1432"/>
                  <a:pt x="2132" y="1570"/>
                </a:cubicBezTo>
                <a:close/>
                <a:moveTo>
                  <a:pt x="1122" y="504"/>
                </a:moveTo>
                <a:cubicBezTo>
                  <a:pt x="779" y="504"/>
                  <a:pt x="501" y="782"/>
                  <a:pt x="501" y="1125"/>
                </a:cubicBezTo>
                <a:cubicBezTo>
                  <a:pt x="501" y="1468"/>
                  <a:pt x="779" y="1746"/>
                  <a:pt x="1122" y="1746"/>
                </a:cubicBezTo>
                <a:cubicBezTo>
                  <a:pt x="1465" y="1746"/>
                  <a:pt x="1743" y="1468"/>
                  <a:pt x="1743" y="1125"/>
                </a:cubicBezTo>
                <a:cubicBezTo>
                  <a:pt x="1743" y="782"/>
                  <a:pt x="1465" y="504"/>
                  <a:pt x="1122" y="504"/>
                </a:cubicBezTo>
                <a:close/>
              </a:path>
            </a:pathLst>
          </a:cu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2353">
              <a:solidFill>
                <a:srgbClr val="1A1A1A"/>
              </a:solidFill>
              <a:latin typeface="Segoe UI Semilight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FC8865A3-2F83-4F44-910A-A42555EFAB9D}"/>
              </a:ext>
            </a:extLst>
          </p:cNvPr>
          <p:cNvGrpSpPr/>
          <p:nvPr/>
        </p:nvGrpSpPr>
        <p:grpSpPr>
          <a:xfrm>
            <a:off x="3225189" y="3100366"/>
            <a:ext cx="343485" cy="271571"/>
            <a:chOff x="967154" y="1481462"/>
            <a:chExt cx="5331069" cy="4214950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59A40472-D23D-4A6A-85F3-650E7EB7AA67}"/>
                </a:ext>
              </a:extLst>
            </p:cNvPr>
            <p:cNvCxnSpPr>
              <a:cxnSpLocks/>
            </p:cNvCxnSpPr>
            <p:nvPr/>
          </p:nvCxnSpPr>
          <p:spPr>
            <a:xfrm>
              <a:off x="967154" y="5696412"/>
              <a:ext cx="5331069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C36B927C-5BC7-46C6-BE90-0E261F650787}"/>
                </a:ext>
              </a:extLst>
            </p:cNvPr>
            <p:cNvSpPr/>
            <p:nvPr/>
          </p:nvSpPr>
          <p:spPr bwMode="auto">
            <a:xfrm>
              <a:off x="1286608" y="2696308"/>
              <a:ext cx="2793023" cy="30001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308769F3-722F-40A9-BFF2-5DB05559DAD7}"/>
                </a:ext>
              </a:extLst>
            </p:cNvPr>
            <p:cNvSpPr/>
            <p:nvPr/>
          </p:nvSpPr>
          <p:spPr bwMode="auto">
            <a:xfrm>
              <a:off x="2225919" y="4700954"/>
              <a:ext cx="914400" cy="99545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0" name="Freeform: Shape 404">
              <a:extLst>
                <a:ext uri="{FF2B5EF4-FFF2-40B4-BE49-F238E27FC236}">
                  <a16:creationId xmlns:a16="http://schemas.microsoft.com/office/drawing/2014/main" id="{1DE5A837-E5CA-4FD3-8487-87E2B020E412}"/>
                </a:ext>
              </a:extLst>
            </p:cNvPr>
            <p:cNvSpPr/>
            <p:nvPr/>
          </p:nvSpPr>
          <p:spPr bwMode="auto">
            <a:xfrm>
              <a:off x="3301093" y="1481462"/>
              <a:ext cx="2666747" cy="4214948"/>
            </a:xfrm>
            <a:custGeom>
              <a:avLst/>
              <a:gdLst>
                <a:gd name="connsiteX0" fmla="*/ 0 w 2662937"/>
                <a:gd name="connsiteY0" fmla="*/ 0 h 4214948"/>
                <a:gd name="connsiteX1" fmla="*/ 2662937 w 2662937"/>
                <a:gd name="connsiteY1" fmla="*/ 0 h 4214948"/>
                <a:gd name="connsiteX2" fmla="*/ 2662937 w 2662937"/>
                <a:gd name="connsiteY2" fmla="*/ 4214948 h 4214948"/>
                <a:gd name="connsiteX3" fmla="*/ 0 w 2662937"/>
                <a:gd name="connsiteY3" fmla="*/ 4214948 h 4214948"/>
                <a:gd name="connsiteX4" fmla="*/ 0 w 2662937"/>
                <a:gd name="connsiteY4" fmla="*/ 3286480 h 4214948"/>
                <a:gd name="connsiteX5" fmla="*/ 864617 w 2662937"/>
                <a:gd name="connsiteY5" fmla="*/ 3286480 h 4214948"/>
                <a:gd name="connsiteX6" fmla="*/ 864617 w 2662937"/>
                <a:gd name="connsiteY6" fmla="*/ 896983 h 4214948"/>
                <a:gd name="connsiteX7" fmla="*/ 0 w 2662937"/>
                <a:gd name="connsiteY7" fmla="*/ 896983 h 4214948"/>
                <a:gd name="connsiteX8" fmla="*/ 0 w 2662937"/>
                <a:gd name="connsiteY8" fmla="*/ 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8" fmla="*/ 956057 w 2662937"/>
                <a:gd name="connsiteY8" fmla="*/ 337792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0" fmla="*/ 864617 w 2662937"/>
                <a:gd name="connsiteY0" fmla="*/ 896983 h 4214948"/>
                <a:gd name="connsiteX1" fmla="*/ 0 w 2662937"/>
                <a:gd name="connsiteY1" fmla="*/ 896983 h 4214948"/>
                <a:gd name="connsiteX2" fmla="*/ 0 w 2662937"/>
                <a:gd name="connsiteY2" fmla="*/ 0 h 4214948"/>
                <a:gd name="connsiteX3" fmla="*/ 2662937 w 2662937"/>
                <a:gd name="connsiteY3" fmla="*/ 0 h 4214948"/>
                <a:gd name="connsiteX4" fmla="*/ 2662937 w 2662937"/>
                <a:gd name="connsiteY4" fmla="*/ 4214948 h 4214948"/>
                <a:gd name="connsiteX5" fmla="*/ 0 w 2662937"/>
                <a:gd name="connsiteY5" fmla="*/ 4214948 h 4214948"/>
                <a:gd name="connsiteX0" fmla="*/ 0 w 2662937"/>
                <a:gd name="connsiteY0" fmla="*/ 896983 h 4214948"/>
                <a:gd name="connsiteX1" fmla="*/ 0 w 2662937"/>
                <a:gd name="connsiteY1" fmla="*/ 0 h 4214948"/>
                <a:gd name="connsiteX2" fmla="*/ 2662937 w 2662937"/>
                <a:gd name="connsiteY2" fmla="*/ 0 h 4214948"/>
                <a:gd name="connsiteX3" fmla="*/ 2662937 w 2662937"/>
                <a:gd name="connsiteY3" fmla="*/ 4214948 h 4214948"/>
                <a:gd name="connsiteX4" fmla="*/ 0 w 2662937"/>
                <a:gd name="connsiteY4" fmla="*/ 4214948 h 421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937" h="4214948">
                  <a:moveTo>
                    <a:pt x="0" y="896983"/>
                  </a:moveTo>
                  <a:lnTo>
                    <a:pt x="0" y="0"/>
                  </a:lnTo>
                  <a:lnTo>
                    <a:pt x="2662937" y="0"/>
                  </a:lnTo>
                  <a:lnTo>
                    <a:pt x="2662937" y="4214948"/>
                  </a:lnTo>
                  <a:lnTo>
                    <a:pt x="0" y="4214948"/>
                  </a:ln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Freeform: Shape 405">
              <a:extLst>
                <a:ext uri="{FF2B5EF4-FFF2-40B4-BE49-F238E27FC236}">
                  <a16:creationId xmlns:a16="http://schemas.microsoft.com/office/drawing/2014/main" id="{90111C11-5AA4-4452-8DB4-F60066913650}"/>
                </a:ext>
              </a:extLst>
            </p:cNvPr>
            <p:cNvSpPr/>
            <p:nvPr/>
          </p:nvSpPr>
          <p:spPr bwMode="auto">
            <a:xfrm>
              <a:off x="4427765" y="4700955"/>
              <a:ext cx="647700" cy="995456"/>
            </a:xfrm>
            <a:custGeom>
              <a:avLst/>
              <a:gdLst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4" fmla="*/ 0 w 696685"/>
                <a:gd name="connsiteY4" fmla="*/ 1302517 h 1831521"/>
                <a:gd name="connsiteX5" fmla="*/ 48985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6" fmla="*/ 140425 w 696685"/>
                <a:gd name="connsiteY6" fmla="*/ 1470756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0" fmla="*/ 0 w 647700"/>
                <a:gd name="connsiteY0" fmla="*/ 0 h 1831521"/>
                <a:gd name="connsiteX1" fmla="*/ 647700 w 647700"/>
                <a:gd name="connsiteY1" fmla="*/ 0 h 1831521"/>
                <a:gd name="connsiteX2" fmla="*/ 647700 w 647700"/>
                <a:gd name="connsiteY2" fmla="*/ 1831521 h 183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1831521">
                  <a:moveTo>
                    <a:pt x="0" y="0"/>
                  </a:moveTo>
                  <a:lnTo>
                    <a:pt x="647700" y="0"/>
                  </a:lnTo>
                  <a:lnTo>
                    <a:pt x="647700" y="1831521"/>
                  </a:ln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Freeform 5">
            <a:extLst>
              <a:ext uri="{FF2B5EF4-FFF2-40B4-BE49-F238E27FC236}">
                <a16:creationId xmlns:a16="http://schemas.microsoft.com/office/drawing/2014/main" id="{781F6DED-EF48-489E-913E-ED7BF55F86D6}"/>
              </a:ext>
            </a:extLst>
          </p:cNvPr>
          <p:cNvSpPr>
            <a:spLocks noEditPoints="1"/>
          </p:cNvSpPr>
          <p:nvPr/>
        </p:nvSpPr>
        <p:spPr bwMode="auto">
          <a:xfrm>
            <a:off x="5713920" y="3075483"/>
            <a:ext cx="265327" cy="296453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2353">
              <a:solidFill>
                <a:srgbClr val="1A1A1A"/>
              </a:solidFill>
              <a:latin typeface="Segoe UI Semilight"/>
            </a:endParaRPr>
          </a:p>
        </p:txBody>
      </p:sp>
      <p:sp>
        <p:nvSpPr>
          <p:cNvPr id="99" name="building_5">
            <a:extLst>
              <a:ext uri="{FF2B5EF4-FFF2-40B4-BE49-F238E27FC236}">
                <a16:creationId xmlns:a16="http://schemas.microsoft.com/office/drawing/2014/main" id="{8C0B64C2-301A-49B9-8C4A-53195071CA5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74841" y="5031707"/>
            <a:ext cx="343485" cy="294214"/>
          </a:xfrm>
          <a:custGeom>
            <a:avLst/>
            <a:gdLst>
              <a:gd name="T0" fmla="*/ 178 w 244"/>
              <a:gd name="T1" fmla="*/ 28 h 209"/>
              <a:gd name="T2" fmla="*/ 244 w 244"/>
              <a:gd name="T3" fmla="*/ 62 h 209"/>
              <a:gd name="T4" fmla="*/ 0 w 244"/>
              <a:gd name="T5" fmla="*/ 62 h 209"/>
              <a:gd name="T6" fmla="*/ 122 w 244"/>
              <a:gd name="T7" fmla="*/ 0 h 209"/>
              <a:gd name="T8" fmla="*/ 178 w 244"/>
              <a:gd name="T9" fmla="*/ 28 h 209"/>
              <a:gd name="T10" fmla="*/ 20 w 244"/>
              <a:gd name="T11" fmla="*/ 190 h 209"/>
              <a:gd name="T12" fmla="*/ 13 w 244"/>
              <a:gd name="T13" fmla="*/ 209 h 209"/>
              <a:gd name="T14" fmla="*/ 232 w 244"/>
              <a:gd name="T15" fmla="*/ 209 h 209"/>
              <a:gd name="T16" fmla="*/ 217 w 244"/>
              <a:gd name="T17" fmla="*/ 171 h 209"/>
              <a:gd name="T18" fmla="*/ 27 w 244"/>
              <a:gd name="T19" fmla="*/ 171 h 209"/>
              <a:gd name="T20" fmla="*/ 20 w 244"/>
              <a:gd name="T21" fmla="*/ 190 h 209"/>
              <a:gd name="T22" fmla="*/ 27 w 244"/>
              <a:gd name="T23" fmla="*/ 171 h 209"/>
              <a:gd name="T24" fmla="*/ 27 w 244"/>
              <a:gd name="T25" fmla="*/ 62 h 209"/>
              <a:gd name="T26" fmla="*/ 217 w 244"/>
              <a:gd name="T27" fmla="*/ 171 h 209"/>
              <a:gd name="T28" fmla="*/ 217 w 244"/>
              <a:gd name="T29" fmla="*/ 62 h 209"/>
              <a:gd name="T30" fmla="*/ 185 w 244"/>
              <a:gd name="T31" fmla="*/ 171 h 209"/>
              <a:gd name="T32" fmla="*/ 185 w 244"/>
              <a:gd name="T33" fmla="*/ 62 h 209"/>
              <a:gd name="T34" fmla="*/ 154 w 244"/>
              <a:gd name="T35" fmla="*/ 171 h 209"/>
              <a:gd name="T36" fmla="*/ 154 w 244"/>
              <a:gd name="T37" fmla="*/ 62 h 209"/>
              <a:gd name="T38" fmla="*/ 122 w 244"/>
              <a:gd name="T39" fmla="*/ 171 h 209"/>
              <a:gd name="T40" fmla="*/ 122 w 244"/>
              <a:gd name="T41" fmla="*/ 62 h 209"/>
              <a:gd name="T42" fmla="*/ 90 w 244"/>
              <a:gd name="T43" fmla="*/ 171 h 209"/>
              <a:gd name="T44" fmla="*/ 90 w 244"/>
              <a:gd name="T45" fmla="*/ 62 h 209"/>
              <a:gd name="T46" fmla="*/ 59 w 244"/>
              <a:gd name="T47" fmla="*/ 171 h 209"/>
              <a:gd name="T48" fmla="*/ 59 w 244"/>
              <a:gd name="T49" fmla="*/ 62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44" h="209">
                <a:moveTo>
                  <a:pt x="178" y="28"/>
                </a:moveTo>
                <a:lnTo>
                  <a:pt x="244" y="62"/>
                </a:lnTo>
                <a:lnTo>
                  <a:pt x="0" y="62"/>
                </a:lnTo>
                <a:lnTo>
                  <a:pt x="122" y="0"/>
                </a:lnTo>
                <a:lnTo>
                  <a:pt x="178" y="28"/>
                </a:lnTo>
                <a:moveTo>
                  <a:pt x="20" y="190"/>
                </a:moveTo>
                <a:lnTo>
                  <a:pt x="13" y="209"/>
                </a:lnTo>
                <a:lnTo>
                  <a:pt x="232" y="209"/>
                </a:lnTo>
                <a:lnTo>
                  <a:pt x="217" y="171"/>
                </a:lnTo>
                <a:lnTo>
                  <a:pt x="27" y="171"/>
                </a:lnTo>
                <a:lnTo>
                  <a:pt x="20" y="190"/>
                </a:lnTo>
                <a:moveTo>
                  <a:pt x="27" y="171"/>
                </a:moveTo>
                <a:lnTo>
                  <a:pt x="27" y="62"/>
                </a:lnTo>
                <a:moveTo>
                  <a:pt x="217" y="171"/>
                </a:moveTo>
                <a:lnTo>
                  <a:pt x="217" y="62"/>
                </a:lnTo>
                <a:moveTo>
                  <a:pt x="185" y="171"/>
                </a:moveTo>
                <a:lnTo>
                  <a:pt x="185" y="62"/>
                </a:lnTo>
                <a:moveTo>
                  <a:pt x="154" y="171"/>
                </a:moveTo>
                <a:lnTo>
                  <a:pt x="154" y="62"/>
                </a:lnTo>
                <a:moveTo>
                  <a:pt x="122" y="171"/>
                </a:moveTo>
                <a:lnTo>
                  <a:pt x="122" y="62"/>
                </a:lnTo>
                <a:moveTo>
                  <a:pt x="90" y="171"/>
                </a:moveTo>
                <a:lnTo>
                  <a:pt x="90" y="62"/>
                </a:lnTo>
                <a:moveTo>
                  <a:pt x="59" y="171"/>
                </a:moveTo>
                <a:lnTo>
                  <a:pt x="59" y="62"/>
                </a:lnTo>
              </a:path>
            </a:pathLst>
          </a:cu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sz="2353">
              <a:solidFill>
                <a:srgbClr val="1A1A1A"/>
              </a:solidFill>
              <a:latin typeface="Segoe UI Semilight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7EA89C0D-E0FC-4B60-8F82-B22620968A3C}"/>
              </a:ext>
            </a:extLst>
          </p:cNvPr>
          <p:cNvGrpSpPr/>
          <p:nvPr/>
        </p:nvGrpSpPr>
        <p:grpSpPr>
          <a:xfrm>
            <a:off x="8086372" y="5011227"/>
            <a:ext cx="263494" cy="322552"/>
            <a:chOff x="965200" y="3436897"/>
            <a:chExt cx="528881" cy="647424"/>
          </a:xfrm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CA8F3AFC-3637-41B9-84B7-4E9D62E41667}"/>
                </a:ext>
              </a:extLst>
            </p:cNvPr>
            <p:cNvGrpSpPr/>
            <p:nvPr/>
          </p:nvGrpSpPr>
          <p:grpSpPr>
            <a:xfrm flipH="1">
              <a:off x="965200" y="3436897"/>
              <a:ext cx="528881" cy="647424"/>
              <a:chOff x="3003960" y="3685414"/>
              <a:chExt cx="403310" cy="493707"/>
            </a:xfrm>
          </p:grpSpPr>
          <p:sp>
            <p:nvSpPr>
              <p:cNvPr id="106" name="Snip Single Corner Rectangle 26">
                <a:extLst>
                  <a:ext uri="{FF2B5EF4-FFF2-40B4-BE49-F238E27FC236}">
                    <a16:creationId xmlns:a16="http://schemas.microsoft.com/office/drawing/2014/main" id="{6BB80100-8A33-4646-8BA6-E867C349522C}"/>
                  </a:ext>
                </a:extLst>
              </p:cNvPr>
              <p:cNvSpPr/>
              <p:nvPr/>
            </p:nvSpPr>
            <p:spPr bwMode="auto">
              <a:xfrm flipH="1">
                <a:off x="3003960" y="3685414"/>
                <a:ext cx="403310" cy="493707"/>
              </a:xfrm>
              <a:prstGeom prst="snip1Rect">
                <a:avLst>
                  <a:gd name="adj" fmla="val 28736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137">
                  <a:solidFill>
                    <a:srgbClr val="1A1A1A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7" name="Triangle 27">
                <a:extLst>
                  <a:ext uri="{FF2B5EF4-FFF2-40B4-BE49-F238E27FC236}">
                    <a16:creationId xmlns:a16="http://schemas.microsoft.com/office/drawing/2014/main" id="{E2ED9760-C431-455B-9071-BEF86C70F435}"/>
                  </a:ext>
                </a:extLst>
              </p:cNvPr>
              <p:cNvSpPr/>
              <p:nvPr/>
            </p:nvSpPr>
            <p:spPr bwMode="auto">
              <a:xfrm rot="8100000">
                <a:off x="3012552" y="3733609"/>
                <a:ext cx="160049" cy="80930"/>
              </a:xfrm>
              <a:prstGeom prst="triangl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137">
                  <a:solidFill>
                    <a:srgbClr val="1A1A1A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FF4164EF-F694-4940-A3FF-A39CDA64E7CC}"/>
                </a:ext>
              </a:extLst>
            </p:cNvPr>
            <p:cNvCxnSpPr/>
            <p:nvPr/>
          </p:nvCxnSpPr>
          <p:spPr>
            <a:xfrm>
              <a:off x="1047750" y="3578225"/>
              <a:ext cx="215900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CA79AAA6-14EE-47DC-A990-0F2A7457025E}"/>
                </a:ext>
              </a:extLst>
            </p:cNvPr>
            <p:cNvCxnSpPr/>
            <p:nvPr/>
          </p:nvCxnSpPr>
          <p:spPr>
            <a:xfrm>
              <a:off x="1047750" y="3697817"/>
              <a:ext cx="368300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07F960C6-3FB9-421A-9A27-58F61C7C52CE}"/>
                </a:ext>
              </a:extLst>
            </p:cNvPr>
            <p:cNvCxnSpPr/>
            <p:nvPr/>
          </p:nvCxnSpPr>
          <p:spPr>
            <a:xfrm>
              <a:off x="1047750" y="3817409"/>
              <a:ext cx="368300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3F15A08-7B90-49DC-8429-369520175E61}"/>
                </a:ext>
              </a:extLst>
            </p:cNvPr>
            <p:cNvCxnSpPr/>
            <p:nvPr/>
          </p:nvCxnSpPr>
          <p:spPr>
            <a:xfrm>
              <a:off x="1047750" y="3937000"/>
              <a:ext cx="368300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</p:grpSp>
      <p:sp>
        <p:nvSpPr>
          <p:cNvPr id="108" name="DeveloperTools_EC7A">
            <a:extLst>
              <a:ext uri="{FF2B5EF4-FFF2-40B4-BE49-F238E27FC236}">
                <a16:creationId xmlns:a16="http://schemas.microsoft.com/office/drawing/2014/main" id="{94D8DE91-6C0B-464A-A30B-2A0F943F330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288742" y="4972394"/>
            <a:ext cx="216379" cy="340936"/>
          </a:xfrm>
          <a:custGeom>
            <a:avLst/>
            <a:gdLst>
              <a:gd name="T0" fmla="*/ 765 w 2384"/>
              <a:gd name="T1" fmla="*/ 958 h 3756"/>
              <a:gd name="T2" fmla="*/ 765 w 2384"/>
              <a:gd name="T3" fmla="*/ 3500 h 3756"/>
              <a:gd name="T4" fmla="*/ 509 w 2384"/>
              <a:gd name="T5" fmla="*/ 3756 h 3756"/>
              <a:gd name="T6" fmla="*/ 509 w 2384"/>
              <a:gd name="T7" fmla="*/ 3756 h 3756"/>
              <a:gd name="T8" fmla="*/ 253 w 2384"/>
              <a:gd name="T9" fmla="*/ 3500 h 3756"/>
              <a:gd name="T10" fmla="*/ 253 w 2384"/>
              <a:gd name="T11" fmla="*/ 958 h 3756"/>
              <a:gd name="T12" fmla="*/ 0 w 2384"/>
              <a:gd name="T13" fmla="*/ 518 h 3756"/>
              <a:gd name="T14" fmla="*/ 509 w 2384"/>
              <a:gd name="T15" fmla="*/ 9 h 3756"/>
              <a:gd name="T16" fmla="*/ 1018 w 2384"/>
              <a:gd name="T17" fmla="*/ 518 h 3756"/>
              <a:gd name="T18" fmla="*/ 765 w 2384"/>
              <a:gd name="T19" fmla="*/ 958 h 3756"/>
              <a:gd name="T20" fmla="*/ 1503 w 2384"/>
              <a:gd name="T21" fmla="*/ 2012 h 3756"/>
              <a:gd name="T22" fmla="*/ 1503 w 2384"/>
              <a:gd name="T23" fmla="*/ 3500 h 3756"/>
              <a:gd name="T24" fmla="*/ 1759 w 2384"/>
              <a:gd name="T25" fmla="*/ 3756 h 3756"/>
              <a:gd name="T26" fmla="*/ 1759 w 2384"/>
              <a:gd name="T27" fmla="*/ 3756 h 3756"/>
              <a:gd name="T28" fmla="*/ 2015 w 2384"/>
              <a:gd name="T29" fmla="*/ 3500 h 3756"/>
              <a:gd name="T30" fmla="*/ 2015 w 2384"/>
              <a:gd name="T31" fmla="*/ 2012 h 3756"/>
              <a:gd name="T32" fmla="*/ 509 w 2384"/>
              <a:gd name="T33" fmla="*/ 0 h 3756"/>
              <a:gd name="T34" fmla="*/ 509 w 2384"/>
              <a:gd name="T35" fmla="*/ 509 h 3756"/>
              <a:gd name="T36" fmla="*/ 1134 w 2384"/>
              <a:gd name="T37" fmla="*/ 2012 h 3756"/>
              <a:gd name="T38" fmla="*/ 2384 w 2384"/>
              <a:gd name="T39" fmla="*/ 2012 h 3756"/>
              <a:gd name="T40" fmla="*/ 1759 w 2384"/>
              <a:gd name="T41" fmla="*/ 2012 h 3756"/>
              <a:gd name="T42" fmla="*/ 1759 w 2384"/>
              <a:gd name="T43" fmla="*/ 711 h 3756"/>
              <a:gd name="T44" fmla="*/ 2015 w 2384"/>
              <a:gd name="T45" fmla="*/ 9 h 3756"/>
              <a:gd name="T46" fmla="*/ 1503 w 2384"/>
              <a:gd name="T47" fmla="*/ 9 h 3756"/>
              <a:gd name="T48" fmla="*/ 1503 w 2384"/>
              <a:gd name="T49" fmla="*/ 510 h 3756"/>
              <a:gd name="T50" fmla="*/ 1759 w 2384"/>
              <a:gd name="T51" fmla="*/ 756 h 3756"/>
              <a:gd name="T52" fmla="*/ 2015 w 2384"/>
              <a:gd name="T53" fmla="*/ 510 h 3756"/>
              <a:gd name="T54" fmla="*/ 2015 w 2384"/>
              <a:gd name="T55" fmla="*/ 9 h 3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384" h="3756">
                <a:moveTo>
                  <a:pt x="765" y="958"/>
                </a:moveTo>
                <a:cubicBezTo>
                  <a:pt x="765" y="3500"/>
                  <a:pt x="765" y="3500"/>
                  <a:pt x="765" y="3500"/>
                </a:cubicBezTo>
                <a:cubicBezTo>
                  <a:pt x="765" y="3641"/>
                  <a:pt x="650" y="3756"/>
                  <a:pt x="509" y="3756"/>
                </a:cubicBezTo>
                <a:cubicBezTo>
                  <a:pt x="509" y="3756"/>
                  <a:pt x="509" y="3756"/>
                  <a:pt x="509" y="3756"/>
                </a:cubicBezTo>
                <a:cubicBezTo>
                  <a:pt x="368" y="3756"/>
                  <a:pt x="253" y="3641"/>
                  <a:pt x="253" y="3500"/>
                </a:cubicBezTo>
                <a:cubicBezTo>
                  <a:pt x="253" y="958"/>
                  <a:pt x="253" y="958"/>
                  <a:pt x="253" y="958"/>
                </a:cubicBezTo>
                <a:cubicBezTo>
                  <a:pt x="102" y="869"/>
                  <a:pt x="0" y="706"/>
                  <a:pt x="0" y="518"/>
                </a:cubicBezTo>
                <a:cubicBezTo>
                  <a:pt x="0" y="237"/>
                  <a:pt x="228" y="9"/>
                  <a:pt x="509" y="9"/>
                </a:cubicBezTo>
                <a:cubicBezTo>
                  <a:pt x="790" y="9"/>
                  <a:pt x="1018" y="237"/>
                  <a:pt x="1018" y="518"/>
                </a:cubicBezTo>
                <a:cubicBezTo>
                  <a:pt x="1018" y="706"/>
                  <a:pt x="916" y="869"/>
                  <a:pt x="765" y="958"/>
                </a:cubicBezTo>
                <a:close/>
                <a:moveTo>
                  <a:pt x="1503" y="2012"/>
                </a:moveTo>
                <a:cubicBezTo>
                  <a:pt x="1503" y="3500"/>
                  <a:pt x="1503" y="3500"/>
                  <a:pt x="1503" y="3500"/>
                </a:cubicBezTo>
                <a:cubicBezTo>
                  <a:pt x="1503" y="3641"/>
                  <a:pt x="1618" y="3756"/>
                  <a:pt x="1759" y="3756"/>
                </a:cubicBezTo>
                <a:cubicBezTo>
                  <a:pt x="1759" y="3756"/>
                  <a:pt x="1759" y="3756"/>
                  <a:pt x="1759" y="3756"/>
                </a:cubicBezTo>
                <a:cubicBezTo>
                  <a:pt x="1900" y="3756"/>
                  <a:pt x="2015" y="3641"/>
                  <a:pt x="2015" y="3500"/>
                </a:cubicBezTo>
                <a:cubicBezTo>
                  <a:pt x="2015" y="2012"/>
                  <a:pt x="2015" y="2012"/>
                  <a:pt x="2015" y="2012"/>
                </a:cubicBezTo>
                <a:moveTo>
                  <a:pt x="509" y="0"/>
                </a:moveTo>
                <a:cubicBezTo>
                  <a:pt x="509" y="509"/>
                  <a:pt x="509" y="509"/>
                  <a:pt x="509" y="509"/>
                </a:cubicBezTo>
                <a:moveTo>
                  <a:pt x="1134" y="2012"/>
                </a:moveTo>
                <a:cubicBezTo>
                  <a:pt x="2384" y="2012"/>
                  <a:pt x="2384" y="2012"/>
                  <a:pt x="2384" y="2012"/>
                </a:cubicBezTo>
                <a:moveTo>
                  <a:pt x="1759" y="2012"/>
                </a:moveTo>
                <a:cubicBezTo>
                  <a:pt x="1759" y="711"/>
                  <a:pt x="1759" y="711"/>
                  <a:pt x="1759" y="711"/>
                </a:cubicBezTo>
                <a:moveTo>
                  <a:pt x="2015" y="9"/>
                </a:moveTo>
                <a:cubicBezTo>
                  <a:pt x="1503" y="9"/>
                  <a:pt x="1503" y="9"/>
                  <a:pt x="1503" y="9"/>
                </a:cubicBezTo>
                <a:cubicBezTo>
                  <a:pt x="1503" y="510"/>
                  <a:pt x="1503" y="510"/>
                  <a:pt x="1503" y="510"/>
                </a:cubicBezTo>
                <a:cubicBezTo>
                  <a:pt x="1759" y="756"/>
                  <a:pt x="1759" y="756"/>
                  <a:pt x="1759" y="756"/>
                </a:cubicBezTo>
                <a:cubicBezTo>
                  <a:pt x="2015" y="510"/>
                  <a:pt x="2015" y="510"/>
                  <a:pt x="2015" y="510"/>
                </a:cubicBezTo>
                <a:lnTo>
                  <a:pt x="2015" y="9"/>
                </a:lnTo>
                <a:close/>
              </a:path>
            </a:pathLst>
          </a:cu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2353">
              <a:solidFill>
                <a:srgbClr val="1A1A1A"/>
              </a:solidFill>
              <a:latin typeface="Segoe UI Semilight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BA35E74C-31DB-403A-B265-72F02AA2A405}"/>
              </a:ext>
            </a:extLst>
          </p:cNvPr>
          <p:cNvGrpSpPr/>
          <p:nvPr/>
        </p:nvGrpSpPr>
        <p:grpSpPr>
          <a:xfrm>
            <a:off x="5713893" y="4045911"/>
            <a:ext cx="265360" cy="334479"/>
            <a:chOff x="9006725" y="765957"/>
            <a:chExt cx="222999" cy="281085"/>
          </a:xfrm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E4A03259-7418-44B6-855C-6B5B2D23AC24}"/>
                </a:ext>
              </a:extLst>
            </p:cNvPr>
            <p:cNvGrpSpPr/>
            <p:nvPr/>
          </p:nvGrpSpPr>
          <p:grpSpPr>
            <a:xfrm>
              <a:off x="9006725" y="765957"/>
              <a:ext cx="222999" cy="281085"/>
              <a:chOff x="9049397" y="3538221"/>
              <a:chExt cx="843714" cy="1063479"/>
            </a:xfrm>
          </p:grpSpPr>
          <p:sp>
            <p:nvSpPr>
              <p:cNvPr id="117" name="Delay 472">
                <a:extLst>
                  <a:ext uri="{FF2B5EF4-FFF2-40B4-BE49-F238E27FC236}">
                    <a16:creationId xmlns:a16="http://schemas.microsoft.com/office/drawing/2014/main" id="{CCF9D947-5248-4E66-B4BB-230DB9D5F1B7}"/>
                  </a:ext>
                </a:extLst>
              </p:cNvPr>
              <p:cNvSpPr/>
              <p:nvPr/>
            </p:nvSpPr>
            <p:spPr bwMode="auto">
              <a:xfrm rot="16200000">
                <a:off x="9109305" y="3534347"/>
                <a:ext cx="720967" cy="728716"/>
              </a:xfrm>
              <a:custGeom>
                <a:avLst/>
                <a:gdLst>
                  <a:gd name="connsiteX0" fmla="*/ 0 w 646772"/>
                  <a:gd name="connsiteY0" fmla="*/ 0 h 687074"/>
                  <a:gd name="connsiteX1" fmla="*/ 323386 w 646772"/>
                  <a:gd name="connsiteY1" fmla="*/ 0 h 687074"/>
                  <a:gd name="connsiteX2" fmla="*/ 646772 w 646772"/>
                  <a:gd name="connsiteY2" fmla="*/ 343537 h 687074"/>
                  <a:gd name="connsiteX3" fmla="*/ 323386 w 646772"/>
                  <a:gd name="connsiteY3" fmla="*/ 687074 h 687074"/>
                  <a:gd name="connsiteX4" fmla="*/ 0 w 646772"/>
                  <a:gd name="connsiteY4" fmla="*/ 687074 h 687074"/>
                  <a:gd name="connsiteX5" fmla="*/ 0 w 646772"/>
                  <a:gd name="connsiteY5" fmla="*/ 0 h 687074"/>
                  <a:gd name="connsiteX0" fmla="*/ 70225 w 716997"/>
                  <a:gd name="connsiteY0" fmla="*/ 0 h 687074"/>
                  <a:gd name="connsiteX1" fmla="*/ 393611 w 716997"/>
                  <a:gd name="connsiteY1" fmla="*/ 0 h 687074"/>
                  <a:gd name="connsiteX2" fmla="*/ 716997 w 716997"/>
                  <a:gd name="connsiteY2" fmla="*/ 343537 h 687074"/>
                  <a:gd name="connsiteX3" fmla="*/ 393611 w 716997"/>
                  <a:gd name="connsiteY3" fmla="*/ 687074 h 687074"/>
                  <a:gd name="connsiteX4" fmla="*/ 70225 w 716997"/>
                  <a:gd name="connsiteY4" fmla="*/ 687074 h 687074"/>
                  <a:gd name="connsiteX5" fmla="*/ 70225 w 716997"/>
                  <a:gd name="connsiteY5" fmla="*/ 0 h 687074"/>
                  <a:gd name="connsiteX0" fmla="*/ 17775 w 664547"/>
                  <a:gd name="connsiteY0" fmla="*/ 0 h 734251"/>
                  <a:gd name="connsiteX1" fmla="*/ 341161 w 664547"/>
                  <a:gd name="connsiteY1" fmla="*/ 0 h 734251"/>
                  <a:gd name="connsiteX2" fmla="*/ 664547 w 664547"/>
                  <a:gd name="connsiteY2" fmla="*/ 343537 h 734251"/>
                  <a:gd name="connsiteX3" fmla="*/ 341161 w 664547"/>
                  <a:gd name="connsiteY3" fmla="*/ 687074 h 734251"/>
                  <a:gd name="connsiteX4" fmla="*/ 17775 w 664547"/>
                  <a:gd name="connsiteY4" fmla="*/ 687074 h 734251"/>
                  <a:gd name="connsiteX5" fmla="*/ 17775 w 664547"/>
                  <a:gd name="connsiteY5" fmla="*/ 0 h 734251"/>
                  <a:gd name="connsiteX0" fmla="*/ 20104 w 666876"/>
                  <a:gd name="connsiteY0" fmla="*/ 0 h 714495"/>
                  <a:gd name="connsiteX1" fmla="*/ 343490 w 666876"/>
                  <a:gd name="connsiteY1" fmla="*/ 0 h 714495"/>
                  <a:gd name="connsiteX2" fmla="*/ 666876 w 666876"/>
                  <a:gd name="connsiteY2" fmla="*/ 343537 h 714495"/>
                  <a:gd name="connsiteX3" fmla="*/ 343490 w 666876"/>
                  <a:gd name="connsiteY3" fmla="*/ 687074 h 714495"/>
                  <a:gd name="connsiteX4" fmla="*/ 20104 w 666876"/>
                  <a:gd name="connsiteY4" fmla="*/ 687074 h 714495"/>
                  <a:gd name="connsiteX5" fmla="*/ 20104 w 666876"/>
                  <a:gd name="connsiteY5" fmla="*/ 0 h 714495"/>
                  <a:gd name="connsiteX0" fmla="*/ 60422 w 707194"/>
                  <a:gd name="connsiteY0" fmla="*/ 0 h 712171"/>
                  <a:gd name="connsiteX1" fmla="*/ 383808 w 707194"/>
                  <a:gd name="connsiteY1" fmla="*/ 0 h 712171"/>
                  <a:gd name="connsiteX2" fmla="*/ 707194 w 707194"/>
                  <a:gd name="connsiteY2" fmla="*/ 343537 h 712171"/>
                  <a:gd name="connsiteX3" fmla="*/ 383808 w 707194"/>
                  <a:gd name="connsiteY3" fmla="*/ 687074 h 712171"/>
                  <a:gd name="connsiteX4" fmla="*/ 96 w 707194"/>
                  <a:gd name="connsiteY4" fmla="*/ 683902 h 712171"/>
                  <a:gd name="connsiteX5" fmla="*/ 60422 w 707194"/>
                  <a:gd name="connsiteY5" fmla="*/ 0 h 712171"/>
                  <a:gd name="connsiteX0" fmla="*/ 61489 w 708261"/>
                  <a:gd name="connsiteY0" fmla="*/ 0 h 710499"/>
                  <a:gd name="connsiteX1" fmla="*/ 384875 w 708261"/>
                  <a:gd name="connsiteY1" fmla="*/ 0 h 710499"/>
                  <a:gd name="connsiteX2" fmla="*/ 708261 w 708261"/>
                  <a:gd name="connsiteY2" fmla="*/ 343537 h 710499"/>
                  <a:gd name="connsiteX3" fmla="*/ 384875 w 708261"/>
                  <a:gd name="connsiteY3" fmla="*/ 687074 h 710499"/>
                  <a:gd name="connsiteX4" fmla="*/ 1163 w 708261"/>
                  <a:gd name="connsiteY4" fmla="*/ 683902 h 710499"/>
                  <a:gd name="connsiteX5" fmla="*/ 61489 w 708261"/>
                  <a:gd name="connsiteY5" fmla="*/ 0 h 710499"/>
                  <a:gd name="connsiteX0" fmla="*/ 61489 w 708261"/>
                  <a:gd name="connsiteY0" fmla="*/ 66113 h 776612"/>
                  <a:gd name="connsiteX1" fmla="*/ 384875 w 708261"/>
                  <a:gd name="connsiteY1" fmla="*/ 66113 h 776612"/>
                  <a:gd name="connsiteX2" fmla="*/ 708261 w 708261"/>
                  <a:gd name="connsiteY2" fmla="*/ 409650 h 776612"/>
                  <a:gd name="connsiteX3" fmla="*/ 384875 w 708261"/>
                  <a:gd name="connsiteY3" fmla="*/ 753187 h 776612"/>
                  <a:gd name="connsiteX4" fmla="*/ 1163 w 708261"/>
                  <a:gd name="connsiteY4" fmla="*/ 750015 h 776612"/>
                  <a:gd name="connsiteX5" fmla="*/ 61489 w 708261"/>
                  <a:gd name="connsiteY5" fmla="*/ 66113 h 776612"/>
                  <a:gd name="connsiteX0" fmla="*/ 61489 w 708261"/>
                  <a:gd name="connsiteY0" fmla="*/ 42981 h 753480"/>
                  <a:gd name="connsiteX1" fmla="*/ 384875 w 708261"/>
                  <a:gd name="connsiteY1" fmla="*/ 42981 h 753480"/>
                  <a:gd name="connsiteX2" fmla="*/ 708261 w 708261"/>
                  <a:gd name="connsiteY2" fmla="*/ 386518 h 753480"/>
                  <a:gd name="connsiteX3" fmla="*/ 384875 w 708261"/>
                  <a:gd name="connsiteY3" fmla="*/ 730055 h 753480"/>
                  <a:gd name="connsiteX4" fmla="*/ 1163 w 708261"/>
                  <a:gd name="connsiteY4" fmla="*/ 726883 h 753480"/>
                  <a:gd name="connsiteX5" fmla="*/ 61489 w 708261"/>
                  <a:gd name="connsiteY5" fmla="*/ 42981 h 753480"/>
                  <a:gd name="connsiteX0" fmla="*/ 61489 w 708261"/>
                  <a:gd name="connsiteY0" fmla="*/ 42981 h 753480"/>
                  <a:gd name="connsiteX1" fmla="*/ 384875 w 708261"/>
                  <a:gd name="connsiteY1" fmla="*/ 42981 h 753480"/>
                  <a:gd name="connsiteX2" fmla="*/ 708261 w 708261"/>
                  <a:gd name="connsiteY2" fmla="*/ 386518 h 753480"/>
                  <a:gd name="connsiteX3" fmla="*/ 384875 w 708261"/>
                  <a:gd name="connsiteY3" fmla="*/ 730055 h 753480"/>
                  <a:gd name="connsiteX4" fmla="*/ 1163 w 708261"/>
                  <a:gd name="connsiteY4" fmla="*/ 726883 h 753480"/>
                  <a:gd name="connsiteX5" fmla="*/ 61489 w 708261"/>
                  <a:gd name="connsiteY5" fmla="*/ 42981 h 753480"/>
                  <a:gd name="connsiteX0" fmla="*/ 61489 w 708261"/>
                  <a:gd name="connsiteY0" fmla="*/ 55271 h 765770"/>
                  <a:gd name="connsiteX1" fmla="*/ 384875 w 708261"/>
                  <a:gd name="connsiteY1" fmla="*/ 55271 h 765770"/>
                  <a:gd name="connsiteX2" fmla="*/ 708261 w 708261"/>
                  <a:gd name="connsiteY2" fmla="*/ 398808 h 765770"/>
                  <a:gd name="connsiteX3" fmla="*/ 384875 w 708261"/>
                  <a:gd name="connsiteY3" fmla="*/ 742345 h 765770"/>
                  <a:gd name="connsiteX4" fmla="*/ 1163 w 708261"/>
                  <a:gd name="connsiteY4" fmla="*/ 739173 h 765770"/>
                  <a:gd name="connsiteX5" fmla="*/ 61489 w 708261"/>
                  <a:gd name="connsiteY5" fmla="*/ 55271 h 765770"/>
                  <a:gd name="connsiteX0" fmla="*/ 61489 w 708261"/>
                  <a:gd name="connsiteY0" fmla="*/ 45159 h 755658"/>
                  <a:gd name="connsiteX1" fmla="*/ 384875 w 708261"/>
                  <a:gd name="connsiteY1" fmla="*/ 45159 h 755658"/>
                  <a:gd name="connsiteX2" fmla="*/ 708261 w 708261"/>
                  <a:gd name="connsiteY2" fmla="*/ 388696 h 755658"/>
                  <a:gd name="connsiteX3" fmla="*/ 384875 w 708261"/>
                  <a:gd name="connsiteY3" fmla="*/ 732233 h 755658"/>
                  <a:gd name="connsiteX4" fmla="*/ 1163 w 708261"/>
                  <a:gd name="connsiteY4" fmla="*/ 729061 h 755658"/>
                  <a:gd name="connsiteX5" fmla="*/ 61489 w 708261"/>
                  <a:gd name="connsiteY5" fmla="*/ 45159 h 755658"/>
                  <a:gd name="connsiteX0" fmla="*/ 78421 w 722018"/>
                  <a:gd name="connsiteY0" fmla="*/ 86993 h 754419"/>
                  <a:gd name="connsiteX1" fmla="*/ 398632 w 722018"/>
                  <a:gd name="connsiteY1" fmla="*/ 23490 h 754419"/>
                  <a:gd name="connsiteX2" fmla="*/ 722018 w 722018"/>
                  <a:gd name="connsiteY2" fmla="*/ 367027 h 754419"/>
                  <a:gd name="connsiteX3" fmla="*/ 398632 w 722018"/>
                  <a:gd name="connsiteY3" fmla="*/ 710564 h 754419"/>
                  <a:gd name="connsiteX4" fmla="*/ 14920 w 722018"/>
                  <a:gd name="connsiteY4" fmla="*/ 707392 h 754419"/>
                  <a:gd name="connsiteX5" fmla="*/ 78421 w 722018"/>
                  <a:gd name="connsiteY5" fmla="*/ 86993 h 754419"/>
                  <a:gd name="connsiteX0" fmla="*/ 78421 w 722018"/>
                  <a:gd name="connsiteY0" fmla="*/ 67923 h 735349"/>
                  <a:gd name="connsiteX1" fmla="*/ 398632 w 722018"/>
                  <a:gd name="connsiteY1" fmla="*/ 4420 h 735349"/>
                  <a:gd name="connsiteX2" fmla="*/ 722018 w 722018"/>
                  <a:gd name="connsiteY2" fmla="*/ 347957 h 735349"/>
                  <a:gd name="connsiteX3" fmla="*/ 398632 w 722018"/>
                  <a:gd name="connsiteY3" fmla="*/ 691494 h 735349"/>
                  <a:gd name="connsiteX4" fmla="*/ 14920 w 722018"/>
                  <a:gd name="connsiteY4" fmla="*/ 688322 h 735349"/>
                  <a:gd name="connsiteX5" fmla="*/ 78421 w 722018"/>
                  <a:gd name="connsiteY5" fmla="*/ 67923 h 735349"/>
                  <a:gd name="connsiteX0" fmla="*/ 78125 w 721722"/>
                  <a:gd name="connsiteY0" fmla="*/ 67921 h 735347"/>
                  <a:gd name="connsiteX1" fmla="*/ 398336 w 721722"/>
                  <a:gd name="connsiteY1" fmla="*/ 4418 h 735347"/>
                  <a:gd name="connsiteX2" fmla="*/ 721722 w 721722"/>
                  <a:gd name="connsiteY2" fmla="*/ 347955 h 735347"/>
                  <a:gd name="connsiteX3" fmla="*/ 398336 w 721722"/>
                  <a:gd name="connsiteY3" fmla="*/ 691492 h 735347"/>
                  <a:gd name="connsiteX4" fmla="*/ 14624 w 721722"/>
                  <a:gd name="connsiteY4" fmla="*/ 688320 h 735347"/>
                  <a:gd name="connsiteX5" fmla="*/ 78125 w 721722"/>
                  <a:gd name="connsiteY5" fmla="*/ 67921 h 735347"/>
                  <a:gd name="connsiteX0" fmla="*/ 52617 w 727964"/>
                  <a:gd name="connsiteY0" fmla="*/ 28409 h 774265"/>
                  <a:gd name="connsiteX1" fmla="*/ 404578 w 727964"/>
                  <a:gd name="connsiteY1" fmla="*/ 37929 h 774265"/>
                  <a:gd name="connsiteX2" fmla="*/ 727964 w 727964"/>
                  <a:gd name="connsiteY2" fmla="*/ 381466 h 774265"/>
                  <a:gd name="connsiteX3" fmla="*/ 404578 w 727964"/>
                  <a:gd name="connsiteY3" fmla="*/ 725003 h 774265"/>
                  <a:gd name="connsiteX4" fmla="*/ 20866 w 727964"/>
                  <a:gd name="connsiteY4" fmla="*/ 721831 h 774265"/>
                  <a:gd name="connsiteX5" fmla="*/ 52617 w 727964"/>
                  <a:gd name="connsiteY5" fmla="*/ 28409 h 774265"/>
                  <a:gd name="connsiteX0" fmla="*/ 48043 w 723390"/>
                  <a:gd name="connsiteY0" fmla="*/ 28175 h 774031"/>
                  <a:gd name="connsiteX1" fmla="*/ 400004 w 723390"/>
                  <a:gd name="connsiteY1" fmla="*/ 37695 h 774031"/>
                  <a:gd name="connsiteX2" fmla="*/ 723390 w 723390"/>
                  <a:gd name="connsiteY2" fmla="*/ 381232 h 774031"/>
                  <a:gd name="connsiteX3" fmla="*/ 400004 w 723390"/>
                  <a:gd name="connsiteY3" fmla="*/ 724769 h 774031"/>
                  <a:gd name="connsiteX4" fmla="*/ 16292 w 723390"/>
                  <a:gd name="connsiteY4" fmla="*/ 721597 h 774031"/>
                  <a:gd name="connsiteX5" fmla="*/ 48043 w 723390"/>
                  <a:gd name="connsiteY5" fmla="*/ 28175 h 774031"/>
                  <a:gd name="connsiteX0" fmla="*/ 57181 w 732528"/>
                  <a:gd name="connsiteY0" fmla="*/ 28175 h 774031"/>
                  <a:gd name="connsiteX1" fmla="*/ 409142 w 732528"/>
                  <a:gd name="connsiteY1" fmla="*/ 37695 h 774031"/>
                  <a:gd name="connsiteX2" fmla="*/ 732528 w 732528"/>
                  <a:gd name="connsiteY2" fmla="*/ 381232 h 774031"/>
                  <a:gd name="connsiteX3" fmla="*/ 409142 w 732528"/>
                  <a:gd name="connsiteY3" fmla="*/ 724769 h 774031"/>
                  <a:gd name="connsiteX4" fmla="*/ 25430 w 732528"/>
                  <a:gd name="connsiteY4" fmla="*/ 721597 h 774031"/>
                  <a:gd name="connsiteX5" fmla="*/ 38475 w 732528"/>
                  <a:gd name="connsiteY5" fmla="*/ 368653 h 774031"/>
                  <a:gd name="connsiteX6" fmla="*/ 57181 w 732528"/>
                  <a:gd name="connsiteY6" fmla="*/ 28175 h 774031"/>
                  <a:gd name="connsiteX0" fmla="*/ 45620 w 720967"/>
                  <a:gd name="connsiteY0" fmla="*/ 26069 h 745543"/>
                  <a:gd name="connsiteX1" fmla="*/ 397581 w 720967"/>
                  <a:gd name="connsiteY1" fmla="*/ 35589 h 745543"/>
                  <a:gd name="connsiteX2" fmla="*/ 720967 w 720967"/>
                  <a:gd name="connsiteY2" fmla="*/ 379126 h 745543"/>
                  <a:gd name="connsiteX3" fmla="*/ 397581 w 720967"/>
                  <a:gd name="connsiteY3" fmla="*/ 722663 h 745543"/>
                  <a:gd name="connsiteX4" fmla="*/ 13869 w 720967"/>
                  <a:gd name="connsiteY4" fmla="*/ 719491 h 745543"/>
                  <a:gd name="connsiteX5" fmla="*/ 80889 w 720967"/>
                  <a:gd name="connsiteY5" fmla="*/ 382425 h 745543"/>
                  <a:gd name="connsiteX6" fmla="*/ 45620 w 720967"/>
                  <a:gd name="connsiteY6" fmla="*/ 26069 h 745543"/>
                  <a:gd name="connsiteX0" fmla="*/ 32920 w 720967"/>
                  <a:gd name="connsiteY0" fmla="*/ 34642 h 728716"/>
                  <a:gd name="connsiteX1" fmla="*/ 397581 w 720967"/>
                  <a:gd name="connsiteY1" fmla="*/ 18762 h 728716"/>
                  <a:gd name="connsiteX2" fmla="*/ 720967 w 720967"/>
                  <a:gd name="connsiteY2" fmla="*/ 362299 h 728716"/>
                  <a:gd name="connsiteX3" fmla="*/ 397581 w 720967"/>
                  <a:gd name="connsiteY3" fmla="*/ 705836 h 728716"/>
                  <a:gd name="connsiteX4" fmla="*/ 13869 w 720967"/>
                  <a:gd name="connsiteY4" fmla="*/ 702664 h 728716"/>
                  <a:gd name="connsiteX5" fmla="*/ 80889 w 720967"/>
                  <a:gd name="connsiteY5" fmla="*/ 365598 h 728716"/>
                  <a:gd name="connsiteX6" fmla="*/ 32920 w 720967"/>
                  <a:gd name="connsiteY6" fmla="*/ 34642 h 728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0967" h="728716">
                    <a:moveTo>
                      <a:pt x="32920" y="34642"/>
                    </a:moveTo>
                    <a:cubicBezTo>
                      <a:pt x="85702" y="-23164"/>
                      <a:pt x="223111" y="5959"/>
                      <a:pt x="397581" y="18762"/>
                    </a:cubicBezTo>
                    <a:cubicBezTo>
                      <a:pt x="576182" y="18762"/>
                      <a:pt x="720967" y="172569"/>
                      <a:pt x="720967" y="362299"/>
                    </a:cubicBezTo>
                    <a:cubicBezTo>
                      <a:pt x="720967" y="552029"/>
                      <a:pt x="576182" y="705836"/>
                      <a:pt x="397581" y="705836"/>
                    </a:cubicBezTo>
                    <a:cubicBezTo>
                      <a:pt x="289786" y="705836"/>
                      <a:pt x="66651" y="759370"/>
                      <a:pt x="13869" y="702664"/>
                    </a:cubicBezTo>
                    <a:cubicBezTo>
                      <a:pt x="-38913" y="645958"/>
                      <a:pt x="75597" y="481168"/>
                      <a:pt x="80889" y="365598"/>
                    </a:cubicBezTo>
                    <a:cubicBezTo>
                      <a:pt x="86181" y="250028"/>
                      <a:pt x="-19862" y="92448"/>
                      <a:pt x="32920" y="34642"/>
                    </a:cubicBezTo>
                    <a:close/>
                  </a:path>
                </a:pathLst>
              </a:cu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137">
                  <a:solidFill>
                    <a:srgbClr val="1A1A1A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2CE6A796-3964-4630-B86E-801E261F9CB1}"/>
                  </a:ext>
                </a:extLst>
              </p:cNvPr>
              <p:cNvGrpSpPr/>
              <p:nvPr/>
            </p:nvGrpSpPr>
            <p:grpSpPr>
              <a:xfrm>
                <a:off x="9049397" y="3679697"/>
                <a:ext cx="843714" cy="922003"/>
                <a:chOff x="7480331" y="4348086"/>
                <a:chExt cx="144649" cy="158071"/>
              </a:xfrm>
              <a:solidFill>
                <a:schemeClr val="bg1"/>
              </a:solidFill>
            </p:grpSpPr>
            <p:sp>
              <p:nvSpPr>
                <p:cNvPr id="119" name="Oval 9">
                  <a:extLst>
                    <a:ext uri="{FF2B5EF4-FFF2-40B4-BE49-F238E27FC236}">
                      <a16:creationId xmlns:a16="http://schemas.microsoft.com/office/drawing/2014/main" id="{8939D726-E18B-4FC9-AED3-399FDF6F77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02207" y="4348086"/>
                  <a:ext cx="99631" cy="86326"/>
                </a:xfrm>
                <a:custGeom>
                  <a:avLst/>
                  <a:gdLst>
                    <a:gd name="connsiteX0" fmla="*/ 0 w 580478"/>
                    <a:gd name="connsiteY0" fmla="*/ 290240 h 580479"/>
                    <a:gd name="connsiteX1" fmla="*/ 290239 w 580478"/>
                    <a:gd name="connsiteY1" fmla="*/ 0 h 580479"/>
                    <a:gd name="connsiteX2" fmla="*/ 580478 w 580478"/>
                    <a:gd name="connsiteY2" fmla="*/ 290240 h 580479"/>
                    <a:gd name="connsiteX3" fmla="*/ 290239 w 580478"/>
                    <a:gd name="connsiteY3" fmla="*/ 580480 h 580479"/>
                    <a:gd name="connsiteX4" fmla="*/ 0 w 580478"/>
                    <a:gd name="connsiteY4" fmla="*/ 290240 h 580479"/>
                    <a:gd name="connsiteX0" fmla="*/ 586 w 581064"/>
                    <a:gd name="connsiteY0" fmla="*/ 319507 h 609747"/>
                    <a:gd name="connsiteX1" fmla="*/ 217767 w 581064"/>
                    <a:gd name="connsiteY1" fmla="*/ 42812 h 609747"/>
                    <a:gd name="connsiteX2" fmla="*/ 290825 w 581064"/>
                    <a:gd name="connsiteY2" fmla="*/ 29267 h 609747"/>
                    <a:gd name="connsiteX3" fmla="*/ 581064 w 581064"/>
                    <a:gd name="connsiteY3" fmla="*/ 319507 h 609747"/>
                    <a:gd name="connsiteX4" fmla="*/ 290825 w 581064"/>
                    <a:gd name="connsiteY4" fmla="*/ 609747 h 609747"/>
                    <a:gd name="connsiteX5" fmla="*/ 586 w 581064"/>
                    <a:gd name="connsiteY5" fmla="*/ 319507 h 609747"/>
                    <a:gd name="connsiteX0" fmla="*/ 837 w 581315"/>
                    <a:gd name="connsiteY0" fmla="*/ 300909 h 591149"/>
                    <a:gd name="connsiteX1" fmla="*/ 205772 w 581315"/>
                    <a:gd name="connsiteY1" fmla="*/ 85446 h 591149"/>
                    <a:gd name="connsiteX2" fmla="*/ 291076 w 581315"/>
                    <a:gd name="connsiteY2" fmla="*/ 10669 h 591149"/>
                    <a:gd name="connsiteX3" fmla="*/ 581315 w 581315"/>
                    <a:gd name="connsiteY3" fmla="*/ 300909 h 591149"/>
                    <a:gd name="connsiteX4" fmla="*/ 291076 w 581315"/>
                    <a:gd name="connsiteY4" fmla="*/ 591149 h 591149"/>
                    <a:gd name="connsiteX5" fmla="*/ 837 w 581315"/>
                    <a:gd name="connsiteY5" fmla="*/ 300909 h 591149"/>
                    <a:gd name="connsiteX0" fmla="*/ 837 w 581315"/>
                    <a:gd name="connsiteY0" fmla="*/ 246033 h 536273"/>
                    <a:gd name="connsiteX1" fmla="*/ 205772 w 581315"/>
                    <a:gd name="connsiteY1" fmla="*/ 30570 h 536273"/>
                    <a:gd name="connsiteX2" fmla="*/ 307405 w 581315"/>
                    <a:gd name="connsiteY2" fmla="*/ 33354 h 536273"/>
                    <a:gd name="connsiteX3" fmla="*/ 581315 w 581315"/>
                    <a:gd name="connsiteY3" fmla="*/ 246033 h 536273"/>
                    <a:gd name="connsiteX4" fmla="*/ 291076 w 581315"/>
                    <a:gd name="connsiteY4" fmla="*/ 536273 h 536273"/>
                    <a:gd name="connsiteX5" fmla="*/ 837 w 581315"/>
                    <a:gd name="connsiteY5" fmla="*/ 246033 h 536273"/>
                    <a:gd name="connsiteX0" fmla="*/ 664 w 581142"/>
                    <a:gd name="connsiteY0" fmla="*/ 229376 h 519616"/>
                    <a:gd name="connsiteX1" fmla="*/ 213764 w 581142"/>
                    <a:gd name="connsiteY1" fmla="*/ 46570 h 519616"/>
                    <a:gd name="connsiteX2" fmla="*/ 307232 w 581142"/>
                    <a:gd name="connsiteY2" fmla="*/ 16697 h 519616"/>
                    <a:gd name="connsiteX3" fmla="*/ 581142 w 581142"/>
                    <a:gd name="connsiteY3" fmla="*/ 229376 h 519616"/>
                    <a:gd name="connsiteX4" fmla="*/ 290903 w 581142"/>
                    <a:gd name="connsiteY4" fmla="*/ 519616 h 519616"/>
                    <a:gd name="connsiteX5" fmla="*/ 664 w 581142"/>
                    <a:gd name="connsiteY5" fmla="*/ 229376 h 519616"/>
                    <a:gd name="connsiteX0" fmla="*/ 664 w 581142"/>
                    <a:gd name="connsiteY0" fmla="*/ 213294 h 503534"/>
                    <a:gd name="connsiteX1" fmla="*/ 213764 w 581142"/>
                    <a:gd name="connsiteY1" fmla="*/ 30488 h 503534"/>
                    <a:gd name="connsiteX2" fmla="*/ 311314 w 581142"/>
                    <a:gd name="connsiteY2" fmla="*/ 29190 h 503534"/>
                    <a:gd name="connsiteX3" fmla="*/ 581142 w 581142"/>
                    <a:gd name="connsiteY3" fmla="*/ 213294 h 503534"/>
                    <a:gd name="connsiteX4" fmla="*/ 290903 w 581142"/>
                    <a:gd name="connsiteY4" fmla="*/ 503534 h 503534"/>
                    <a:gd name="connsiteX5" fmla="*/ 664 w 581142"/>
                    <a:gd name="connsiteY5" fmla="*/ 213294 h 503534"/>
                    <a:gd name="connsiteX0" fmla="*/ 664 w 581142"/>
                    <a:gd name="connsiteY0" fmla="*/ 213294 h 503636"/>
                    <a:gd name="connsiteX1" fmla="*/ 213764 w 581142"/>
                    <a:gd name="connsiteY1" fmla="*/ 30488 h 503636"/>
                    <a:gd name="connsiteX2" fmla="*/ 311314 w 581142"/>
                    <a:gd name="connsiteY2" fmla="*/ 29190 h 503636"/>
                    <a:gd name="connsiteX3" fmla="*/ 581142 w 581142"/>
                    <a:gd name="connsiteY3" fmla="*/ 213294 h 503636"/>
                    <a:gd name="connsiteX4" fmla="*/ 290903 w 581142"/>
                    <a:gd name="connsiteY4" fmla="*/ 503534 h 503636"/>
                    <a:gd name="connsiteX5" fmla="*/ 664 w 581142"/>
                    <a:gd name="connsiteY5" fmla="*/ 213294 h 503636"/>
                    <a:gd name="connsiteX0" fmla="*/ 664 w 581142"/>
                    <a:gd name="connsiteY0" fmla="*/ 213294 h 503534"/>
                    <a:gd name="connsiteX1" fmla="*/ 213764 w 581142"/>
                    <a:gd name="connsiteY1" fmla="*/ 30488 h 503534"/>
                    <a:gd name="connsiteX2" fmla="*/ 311314 w 581142"/>
                    <a:gd name="connsiteY2" fmla="*/ 29190 h 503534"/>
                    <a:gd name="connsiteX3" fmla="*/ 581142 w 581142"/>
                    <a:gd name="connsiteY3" fmla="*/ 213294 h 503534"/>
                    <a:gd name="connsiteX4" fmla="*/ 290903 w 581142"/>
                    <a:gd name="connsiteY4" fmla="*/ 503534 h 503534"/>
                    <a:gd name="connsiteX5" fmla="*/ 664 w 581142"/>
                    <a:gd name="connsiteY5" fmla="*/ 213294 h 503534"/>
                    <a:gd name="connsiteX0" fmla="*/ 658 w 581136"/>
                    <a:gd name="connsiteY0" fmla="*/ 213294 h 503534"/>
                    <a:gd name="connsiteX1" fmla="*/ 213758 w 581136"/>
                    <a:gd name="connsiteY1" fmla="*/ 30488 h 503534"/>
                    <a:gd name="connsiteX2" fmla="*/ 311308 w 581136"/>
                    <a:gd name="connsiteY2" fmla="*/ 29190 h 503534"/>
                    <a:gd name="connsiteX3" fmla="*/ 581136 w 581136"/>
                    <a:gd name="connsiteY3" fmla="*/ 213294 h 503534"/>
                    <a:gd name="connsiteX4" fmla="*/ 290897 w 581136"/>
                    <a:gd name="connsiteY4" fmla="*/ 503534 h 503534"/>
                    <a:gd name="connsiteX5" fmla="*/ 658 w 581136"/>
                    <a:gd name="connsiteY5" fmla="*/ 213294 h 5035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1136" h="503534">
                      <a:moveTo>
                        <a:pt x="658" y="213294"/>
                      </a:moveTo>
                      <a:cubicBezTo>
                        <a:pt x="9429" y="112825"/>
                        <a:pt x="165385" y="78861"/>
                        <a:pt x="213758" y="30488"/>
                      </a:cubicBezTo>
                      <a:cubicBezTo>
                        <a:pt x="262131" y="-17885"/>
                        <a:pt x="250078" y="-1278"/>
                        <a:pt x="311308" y="29190"/>
                      </a:cubicBezTo>
                      <a:cubicBezTo>
                        <a:pt x="372538" y="59658"/>
                        <a:pt x="581136" y="52999"/>
                        <a:pt x="581136" y="213294"/>
                      </a:cubicBezTo>
                      <a:cubicBezTo>
                        <a:pt x="581136" y="373589"/>
                        <a:pt x="511752" y="503534"/>
                        <a:pt x="290897" y="503534"/>
                      </a:cubicBezTo>
                      <a:cubicBezTo>
                        <a:pt x="70042" y="503534"/>
                        <a:pt x="-8113" y="313763"/>
                        <a:pt x="658" y="213294"/>
                      </a:cubicBezTo>
                      <a:close/>
                    </a:path>
                  </a:pathLst>
                </a:custGeom>
                <a:ln>
                  <a:headEnd/>
                  <a:tailEnd/>
                </a:ln>
                <a:extLst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sz="2353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120" name="Freeform 10">
                  <a:extLst>
                    <a:ext uri="{FF2B5EF4-FFF2-40B4-BE49-F238E27FC236}">
                      <a16:creationId xmlns:a16="http://schemas.microsoft.com/office/drawing/2014/main" id="{05205D45-9E84-4435-969A-5878002A95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80331" y="4434411"/>
                  <a:ext cx="144649" cy="71746"/>
                </a:xfrm>
                <a:custGeom>
                  <a:avLst/>
                  <a:gdLst>
                    <a:gd name="T0" fmla="*/ 0 w 172"/>
                    <a:gd name="T1" fmla="*/ 86 h 86"/>
                    <a:gd name="T2" fmla="*/ 86 w 172"/>
                    <a:gd name="T3" fmla="*/ 0 h 86"/>
                    <a:gd name="T4" fmla="*/ 172 w 172"/>
                    <a:gd name="T5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2" h="86">
                      <a:moveTo>
                        <a:pt x="0" y="86"/>
                      </a:moveTo>
                      <a:cubicBezTo>
                        <a:pt x="0" y="39"/>
                        <a:pt x="38" y="0"/>
                        <a:pt x="86" y="0"/>
                      </a:cubicBezTo>
                      <a:cubicBezTo>
                        <a:pt x="133" y="0"/>
                        <a:pt x="172" y="39"/>
                        <a:pt x="172" y="86"/>
                      </a:cubicBezTo>
                    </a:path>
                  </a:pathLst>
                </a:custGeom>
                <a:ln>
                  <a:headEnd/>
                  <a:tailEnd/>
                </a:ln>
                <a:extLst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sz="2353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</p:grpSp>
        <p:sp>
          <p:nvSpPr>
            <p:cNvPr id="114" name="Rounded Rectangle 442">
              <a:extLst>
                <a:ext uri="{FF2B5EF4-FFF2-40B4-BE49-F238E27FC236}">
                  <a16:creationId xmlns:a16="http://schemas.microsoft.com/office/drawing/2014/main" id="{51952DDC-54C7-4A6C-BA2E-7800EE9CD2DE}"/>
                </a:ext>
              </a:extLst>
            </p:cNvPr>
            <p:cNvSpPr/>
            <p:nvPr/>
          </p:nvSpPr>
          <p:spPr bwMode="auto">
            <a:xfrm>
              <a:off x="9067095" y="846868"/>
              <a:ext cx="43020" cy="30046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Rounded Rectangle 443">
              <a:extLst>
                <a:ext uri="{FF2B5EF4-FFF2-40B4-BE49-F238E27FC236}">
                  <a16:creationId xmlns:a16="http://schemas.microsoft.com/office/drawing/2014/main" id="{FAA24222-4D8F-471E-9086-304141A5B8A5}"/>
                </a:ext>
              </a:extLst>
            </p:cNvPr>
            <p:cNvSpPr/>
            <p:nvPr/>
          </p:nvSpPr>
          <p:spPr bwMode="auto">
            <a:xfrm>
              <a:off x="9124249" y="846868"/>
              <a:ext cx="43020" cy="30046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6" name="Freeform 444">
              <a:extLst>
                <a:ext uri="{FF2B5EF4-FFF2-40B4-BE49-F238E27FC236}">
                  <a16:creationId xmlns:a16="http://schemas.microsoft.com/office/drawing/2014/main" id="{4B597123-C51E-4D00-B56B-ECEFAB8F2889}"/>
                </a:ext>
              </a:extLst>
            </p:cNvPr>
            <p:cNvSpPr/>
            <p:nvPr/>
          </p:nvSpPr>
          <p:spPr bwMode="auto">
            <a:xfrm>
              <a:off x="9053802" y="843363"/>
              <a:ext cx="127872" cy="4341"/>
            </a:xfrm>
            <a:custGeom>
              <a:avLst/>
              <a:gdLst>
                <a:gd name="connsiteX0" fmla="*/ 0 w 701675"/>
                <a:gd name="connsiteY0" fmla="*/ 3175 h 69850"/>
                <a:gd name="connsiteX1" fmla="*/ 66675 w 701675"/>
                <a:gd name="connsiteY1" fmla="*/ 69850 h 69850"/>
                <a:gd name="connsiteX2" fmla="*/ 631825 w 701675"/>
                <a:gd name="connsiteY2" fmla="*/ 69850 h 69850"/>
                <a:gd name="connsiteX3" fmla="*/ 701675 w 701675"/>
                <a:gd name="connsiteY3" fmla="*/ 0 h 6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1675" h="69850">
                  <a:moveTo>
                    <a:pt x="0" y="3175"/>
                  </a:moveTo>
                  <a:lnTo>
                    <a:pt x="66675" y="69850"/>
                  </a:lnTo>
                  <a:lnTo>
                    <a:pt x="631825" y="69850"/>
                  </a:lnTo>
                  <a:lnTo>
                    <a:pt x="701675" y="0"/>
                  </a:ln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225">
                <a:defRPr/>
              </a:pPr>
              <a:endParaRPr lang="en-US" sz="2353"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5" name="Smiley Face 4">
            <a:extLst>
              <a:ext uri="{FF2B5EF4-FFF2-40B4-BE49-F238E27FC236}">
                <a16:creationId xmlns:a16="http://schemas.microsoft.com/office/drawing/2014/main" id="{FA7903ED-FF53-44B1-9BE1-570B42737B81}"/>
              </a:ext>
            </a:extLst>
          </p:cNvPr>
          <p:cNvSpPr/>
          <p:nvPr/>
        </p:nvSpPr>
        <p:spPr bwMode="auto">
          <a:xfrm>
            <a:off x="8071244" y="2095437"/>
            <a:ext cx="293749" cy="293749"/>
          </a:xfrm>
          <a:custGeom>
            <a:avLst/>
            <a:gdLst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9395 w 914400"/>
              <a:gd name="connsiteY0" fmla="*/ 65658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9395 w 914400"/>
              <a:gd name="connsiteY0" fmla="*/ 65658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9395 w 914400"/>
              <a:gd name="connsiteY0" fmla="*/ 65658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22059 w 914400"/>
              <a:gd name="connsiteY1" fmla="*/ 58605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22059 w 914400"/>
              <a:gd name="connsiteY1" fmla="*/ 58605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22059 w 914400"/>
              <a:gd name="connsiteY1" fmla="*/ 58605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 stroke="0" extrusionOk="0">
                <a:moveTo>
                  <a:pt x="0" y="457200"/>
                </a:moveTo>
                <a:cubicBezTo>
                  <a:pt x="0" y="204695"/>
                  <a:pt x="204695" y="0"/>
                  <a:pt x="457200" y="0"/>
                </a:cubicBez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lose/>
              </a:path>
              <a:path w="914400" h="914400" fill="darkenLess" extrusionOk="0">
                <a:moveTo>
                  <a:pt x="263102" y="320463"/>
                </a:moveTo>
                <a:cubicBezTo>
                  <a:pt x="263102" y="294160"/>
                  <a:pt x="284424" y="272838"/>
                  <a:pt x="310727" y="272838"/>
                </a:cubicBezTo>
                <a:cubicBezTo>
                  <a:pt x="337030" y="272838"/>
                  <a:pt x="358352" y="294160"/>
                  <a:pt x="358352" y="320463"/>
                </a:cubicBezTo>
                <a:cubicBezTo>
                  <a:pt x="358352" y="346766"/>
                  <a:pt x="337030" y="368088"/>
                  <a:pt x="310727" y="368088"/>
                </a:cubicBezTo>
                <a:cubicBezTo>
                  <a:pt x="284424" y="368088"/>
                  <a:pt x="263102" y="346766"/>
                  <a:pt x="263102" y="320463"/>
                </a:cubicBezTo>
                <a:moveTo>
                  <a:pt x="556048" y="320463"/>
                </a:moveTo>
                <a:cubicBezTo>
                  <a:pt x="556048" y="294160"/>
                  <a:pt x="577370" y="272838"/>
                  <a:pt x="603673" y="272838"/>
                </a:cubicBezTo>
                <a:cubicBezTo>
                  <a:pt x="629976" y="272838"/>
                  <a:pt x="651298" y="294160"/>
                  <a:pt x="651298" y="320463"/>
                </a:cubicBezTo>
                <a:cubicBezTo>
                  <a:pt x="651298" y="346766"/>
                  <a:pt x="629976" y="368088"/>
                  <a:pt x="603673" y="368088"/>
                </a:cubicBezTo>
                <a:cubicBezTo>
                  <a:pt x="577370" y="368088"/>
                  <a:pt x="556048" y="346766"/>
                  <a:pt x="556048" y="320463"/>
                </a:cubicBezTo>
              </a:path>
              <a:path w="914400" h="914400" fill="none" extrusionOk="0">
                <a:moveTo>
                  <a:pt x="201838" y="583538"/>
                </a:moveTo>
                <a:cubicBezTo>
                  <a:pt x="252912" y="750761"/>
                  <a:pt x="677129" y="760028"/>
                  <a:pt x="722059" y="586058"/>
                </a:cubicBezTo>
              </a:path>
              <a:path w="914400" h="914400" fill="none">
                <a:moveTo>
                  <a:pt x="0" y="457200"/>
                </a:moveTo>
                <a:cubicBezTo>
                  <a:pt x="0" y="204695"/>
                  <a:pt x="204695" y="0"/>
                  <a:pt x="457200" y="0"/>
                </a:cubicBez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18815C42-C69E-4AFB-810C-6B9DECA49B9B}"/>
              </a:ext>
            </a:extLst>
          </p:cNvPr>
          <p:cNvSpPr txBox="1"/>
          <p:nvPr/>
        </p:nvSpPr>
        <p:spPr>
          <a:xfrm>
            <a:off x="2327294" y="2433077"/>
            <a:ext cx="2139277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Key Phrase extraction 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2EF22189-6736-4E00-90AE-0FC174906C01}"/>
              </a:ext>
            </a:extLst>
          </p:cNvPr>
          <p:cNvSpPr txBox="1"/>
          <p:nvPr/>
        </p:nvSpPr>
        <p:spPr>
          <a:xfrm>
            <a:off x="4600103" y="2433077"/>
            <a:ext cx="2492965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Location entity extraction 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195DD90A-FBD9-43A8-A095-DD11D76379E8}"/>
              </a:ext>
            </a:extLst>
          </p:cNvPr>
          <p:cNvSpPr txBox="1"/>
          <p:nvPr/>
        </p:nvSpPr>
        <p:spPr>
          <a:xfrm>
            <a:off x="7304260" y="2433077"/>
            <a:ext cx="1827718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Sentiment analysis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66C5C4AE-49F5-44FD-B2B4-764D20E191E1}"/>
              </a:ext>
            </a:extLst>
          </p:cNvPr>
          <p:cNvSpPr txBox="1"/>
          <p:nvPr/>
        </p:nvSpPr>
        <p:spPr>
          <a:xfrm>
            <a:off x="2292109" y="3411253"/>
            <a:ext cx="2209645" cy="575081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Organization entity extraction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BF50FFFD-F2B8-43E9-BB81-E27EC6CE30BB}"/>
              </a:ext>
            </a:extLst>
          </p:cNvPr>
          <p:cNvSpPr txBox="1"/>
          <p:nvPr/>
        </p:nvSpPr>
        <p:spPr>
          <a:xfrm>
            <a:off x="4899975" y="3411253"/>
            <a:ext cx="1893215" cy="575081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Persons entity extraction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6341C792-31CA-4CAC-947A-8E2F1E92C68C}"/>
              </a:ext>
            </a:extLst>
          </p:cNvPr>
          <p:cNvSpPr txBox="1"/>
          <p:nvPr/>
        </p:nvSpPr>
        <p:spPr>
          <a:xfrm>
            <a:off x="7243347" y="3411252"/>
            <a:ext cx="1949546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Language detection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A5B72E17-FF5C-4839-8C8D-9F7158FE63F9}"/>
              </a:ext>
            </a:extLst>
          </p:cNvPr>
          <p:cNvSpPr txBox="1"/>
          <p:nvPr/>
        </p:nvSpPr>
        <p:spPr>
          <a:xfrm>
            <a:off x="2661521" y="4389428"/>
            <a:ext cx="1470826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Face detection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51C976F7-ABA6-414E-AF7C-378E1BE6C6C8}"/>
              </a:ext>
            </a:extLst>
          </p:cNvPr>
          <p:cNvSpPr txBox="1"/>
          <p:nvPr/>
        </p:nvSpPr>
        <p:spPr>
          <a:xfrm>
            <a:off x="4825036" y="4389428"/>
            <a:ext cx="2043097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Celebrity recognition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27C11887-C72C-4379-B24D-4AE8890EDEFF}"/>
              </a:ext>
            </a:extLst>
          </p:cNvPr>
          <p:cNvSpPr txBox="1"/>
          <p:nvPr/>
        </p:nvSpPr>
        <p:spPr>
          <a:xfrm>
            <a:off x="7504058" y="4389428"/>
            <a:ext cx="1428122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Tag extraction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6AD3E540-0E8C-4E87-8CB2-A7A23010D729}"/>
              </a:ext>
            </a:extLst>
          </p:cNvPr>
          <p:cNvSpPr txBox="1"/>
          <p:nvPr/>
        </p:nvSpPr>
        <p:spPr>
          <a:xfrm>
            <a:off x="2729134" y="5367603"/>
            <a:ext cx="1335597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Custom skills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EDE99F7-74B0-465A-B766-7764CB69C15A}"/>
              </a:ext>
            </a:extLst>
          </p:cNvPr>
          <p:cNvSpPr txBox="1"/>
          <p:nvPr/>
        </p:nvSpPr>
        <p:spPr>
          <a:xfrm>
            <a:off x="4869405" y="5367603"/>
            <a:ext cx="1954356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Landmark detection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6ACC12A4-8484-47EA-AED9-6F4DFAA128F2}"/>
              </a:ext>
            </a:extLst>
          </p:cNvPr>
          <p:cNvSpPr txBox="1"/>
          <p:nvPr/>
        </p:nvSpPr>
        <p:spPr>
          <a:xfrm>
            <a:off x="7077947" y="5367603"/>
            <a:ext cx="2280342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Printed text recognition</a:t>
            </a:r>
          </a:p>
        </p:txBody>
      </p: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2544D74F-1E97-42D5-9D68-629DA17AA53E}"/>
              </a:ext>
            </a:extLst>
          </p:cNvPr>
          <p:cNvGrpSpPr/>
          <p:nvPr/>
        </p:nvGrpSpPr>
        <p:grpSpPr>
          <a:xfrm>
            <a:off x="8108406" y="4098299"/>
            <a:ext cx="219425" cy="259587"/>
            <a:chOff x="10049477" y="4977630"/>
            <a:chExt cx="667988" cy="790257"/>
          </a:xfrm>
        </p:grpSpPr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B198C796-477E-4D8D-8679-48CC019B66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82650" y="4977630"/>
              <a:ext cx="163287" cy="790257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3AF515DA-B8D7-44FB-8830-97E21BB738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25938" y="4977630"/>
              <a:ext cx="163287" cy="790257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D857B08E-A8B9-4AE9-B625-2F6E99C426D4}"/>
                </a:ext>
              </a:extLst>
            </p:cNvPr>
            <p:cNvCxnSpPr/>
            <p:nvPr/>
          </p:nvCxnSpPr>
          <p:spPr>
            <a:xfrm>
              <a:off x="10098428" y="5250543"/>
              <a:ext cx="619037" cy="0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2620BF9C-28A9-4C7B-81B0-4310CD18917A}"/>
                </a:ext>
              </a:extLst>
            </p:cNvPr>
            <p:cNvCxnSpPr/>
            <p:nvPr/>
          </p:nvCxnSpPr>
          <p:spPr>
            <a:xfrm>
              <a:off x="10049477" y="5501256"/>
              <a:ext cx="619037" cy="0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pic>
        <p:nvPicPr>
          <p:cNvPr id="211" name="Graphic 569">
            <a:extLst>
              <a:ext uri="{FF2B5EF4-FFF2-40B4-BE49-F238E27FC236}">
                <a16:creationId xmlns:a16="http://schemas.microsoft.com/office/drawing/2014/main" id="{DE8D157E-8F0D-434E-A902-9A7ECE178A6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59230" y="3075483"/>
            <a:ext cx="317778" cy="294238"/>
          </a:xfrm>
          <a:prstGeom prst="rect">
            <a:avLst/>
          </a:prstGeom>
        </p:spPr>
      </p:pic>
      <p:pic>
        <p:nvPicPr>
          <p:cNvPr id="218" name="Picture 217">
            <a:extLst>
              <a:ext uri="{FF2B5EF4-FFF2-40B4-BE49-F238E27FC236}">
                <a16:creationId xmlns:a16="http://schemas.microsoft.com/office/drawing/2014/main" id="{ED8390C7-420B-4965-A78E-1B5133E468A2}"/>
              </a:ext>
            </a:extLst>
          </p:cNvPr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3151" y="3988586"/>
            <a:ext cx="367563" cy="367563"/>
          </a:xfrm>
          <a:prstGeom prst="ellipse">
            <a:avLst/>
          </a:prstGeom>
          <a:ln w="12700">
            <a:solidFill>
              <a:schemeClr val="accent1"/>
            </a:solidFill>
          </a:ln>
        </p:spPr>
      </p:pic>
      <p:grpSp>
        <p:nvGrpSpPr>
          <p:cNvPr id="219" name="Group 218">
            <a:extLst>
              <a:ext uri="{FF2B5EF4-FFF2-40B4-BE49-F238E27FC236}">
                <a16:creationId xmlns:a16="http://schemas.microsoft.com/office/drawing/2014/main" id="{F6044FD7-4CB9-40DE-BFC4-341A12D154EC}"/>
              </a:ext>
            </a:extLst>
          </p:cNvPr>
          <p:cNvGrpSpPr/>
          <p:nvPr/>
        </p:nvGrpSpPr>
        <p:grpSpPr>
          <a:xfrm>
            <a:off x="3222657" y="2039135"/>
            <a:ext cx="348549" cy="348549"/>
            <a:chOff x="475287" y="4173926"/>
            <a:chExt cx="740664" cy="740664"/>
          </a:xfrm>
        </p:grpSpPr>
        <p:pic>
          <p:nvPicPr>
            <p:cNvPr id="220" name="Picture 219">
              <a:extLst>
                <a:ext uri="{FF2B5EF4-FFF2-40B4-BE49-F238E27FC236}">
                  <a16:creationId xmlns:a16="http://schemas.microsoft.com/office/drawing/2014/main" id="{EEB03CA1-4EEC-4370-B500-5A96DD5473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5287" y="4173926"/>
              <a:ext cx="740664" cy="740664"/>
            </a:xfrm>
            <a:prstGeom prst="ellipse">
              <a:avLst/>
            </a:prstGeom>
            <a:ln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</p:pic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20FE5E7D-FBF5-4595-AD00-ECD01EE3CA89}"/>
                </a:ext>
              </a:extLst>
            </p:cNvPr>
            <p:cNvSpPr/>
            <p:nvPr/>
          </p:nvSpPr>
          <p:spPr bwMode="auto">
            <a:xfrm>
              <a:off x="727075" y="4416425"/>
              <a:ext cx="333375" cy="7620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745" b="1">
                  <a:ln/>
                  <a:solidFill>
                    <a:srgbClr val="F37521"/>
                  </a:solidFill>
                  <a:highlight>
                    <a:srgbClr val="FFFF00"/>
                  </a:highlight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6B828956-839C-4228-BC52-5E91DDDE890F}"/>
                </a:ext>
              </a:extLst>
            </p:cNvPr>
            <p:cNvSpPr/>
            <p:nvPr/>
          </p:nvSpPr>
          <p:spPr bwMode="auto">
            <a:xfrm>
              <a:off x="822325" y="4603750"/>
              <a:ext cx="330200" cy="6350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745" b="1">
                  <a:ln/>
                  <a:solidFill>
                    <a:srgbClr val="F37521"/>
                  </a:solidFill>
                  <a:highlight>
                    <a:srgbClr val="FFFF00"/>
                  </a:highlight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B5F09649-B0A4-4DFC-99FA-20367A97F67F}"/>
                </a:ext>
              </a:extLst>
            </p:cNvPr>
            <p:cNvSpPr/>
            <p:nvPr/>
          </p:nvSpPr>
          <p:spPr bwMode="auto">
            <a:xfrm>
              <a:off x="619125" y="4772024"/>
              <a:ext cx="136525" cy="6667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745" b="1">
                  <a:ln/>
                  <a:solidFill>
                    <a:srgbClr val="F37521"/>
                  </a:solidFill>
                  <a:highlight>
                    <a:srgbClr val="FFFF00"/>
                  </a:highlight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A1018F85-7CAF-4149-BDD2-02CAF0F85DAF}"/>
                </a:ext>
              </a:extLst>
            </p:cNvPr>
            <p:cNvSpPr/>
            <p:nvPr/>
          </p:nvSpPr>
          <p:spPr bwMode="auto">
            <a:xfrm>
              <a:off x="866775" y="4241799"/>
              <a:ext cx="136525" cy="6667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745" b="1">
                  <a:ln/>
                  <a:solidFill>
                    <a:srgbClr val="F37521"/>
                  </a:solidFill>
                  <a:highlight>
                    <a:srgbClr val="FFFF00"/>
                  </a:highlight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5D512FC-0B3F-45ED-842D-952E4F2960D3}"/>
              </a:ext>
            </a:extLst>
          </p:cNvPr>
          <p:cNvGrpSpPr/>
          <p:nvPr/>
        </p:nvGrpSpPr>
        <p:grpSpPr>
          <a:xfrm>
            <a:off x="9957990" y="2752702"/>
            <a:ext cx="1572107" cy="2006929"/>
            <a:chOff x="9848188" y="3033451"/>
            <a:chExt cx="1905708" cy="243280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F0449DF-48CB-4D7A-BB8F-EABC9E7F277E}"/>
                </a:ext>
              </a:extLst>
            </p:cNvPr>
            <p:cNvSpPr/>
            <p:nvPr/>
          </p:nvSpPr>
          <p:spPr bwMode="auto">
            <a:xfrm>
              <a:off x="10907771" y="4140620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88323BE7-C8CB-4E8C-8ECE-C148A69ACAE5}"/>
                </a:ext>
              </a:extLst>
            </p:cNvPr>
            <p:cNvSpPr/>
            <p:nvPr/>
          </p:nvSpPr>
          <p:spPr bwMode="auto">
            <a:xfrm>
              <a:off x="10424445" y="3876095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6F5E8C9B-A585-42BC-9E6D-197C44F83164}"/>
                </a:ext>
              </a:extLst>
            </p:cNvPr>
            <p:cNvSpPr/>
            <p:nvPr/>
          </p:nvSpPr>
          <p:spPr bwMode="auto">
            <a:xfrm>
              <a:off x="11033662" y="3447658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6303F5E0-47B3-4A39-A38C-D33678667FD2}"/>
                </a:ext>
              </a:extLst>
            </p:cNvPr>
            <p:cNvSpPr/>
            <p:nvPr/>
          </p:nvSpPr>
          <p:spPr bwMode="auto">
            <a:xfrm>
              <a:off x="11000732" y="4773289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320A1873-83D6-4403-9C56-68D79EBDFE2F}"/>
                </a:ext>
              </a:extLst>
            </p:cNvPr>
            <p:cNvSpPr/>
            <p:nvPr/>
          </p:nvSpPr>
          <p:spPr bwMode="auto">
            <a:xfrm>
              <a:off x="10465155" y="4895209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0DCB65A2-C92C-4DD7-BEAA-586F142075A5}"/>
                </a:ext>
              </a:extLst>
            </p:cNvPr>
            <p:cNvSpPr/>
            <p:nvPr/>
          </p:nvSpPr>
          <p:spPr bwMode="auto">
            <a:xfrm>
              <a:off x="11000732" y="5222411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C981EB0E-1D8B-472B-AE4B-FD44C0092432}"/>
                </a:ext>
              </a:extLst>
            </p:cNvPr>
            <p:cNvSpPr/>
            <p:nvPr/>
          </p:nvSpPr>
          <p:spPr bwMode="auto">
            <a:xfrm>
              <a:off x="11437362" y="4773289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C49C1250-A77A-4196-B4ED-440D6084F390}"/>
                </a:ext>
              </a:extLst>
            </p:cNvPr>
            <p:cNvSpPr/>
            <p:nvPr/>
          </p:nvSpPr>
          <p:spPr bwMode="auto">
            <a:xfrm>
              <a:off x="11430332" y="3447658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26970C43-3AE3-484C-9F2F-5B28C4391734}"/>
                </a:ext>
              </a:extLst>
            </p:cNvPr>
            <p:cNvSpPr/>
            <p:nvPr/>
          </p:nvSpPr>
          <p:spPr bwMode="auto">
            <a:xfrm>
              <a:off x="11033662" y="3033451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DDE4C636-0DC3-431D-B9EF-EDDE407A642D}"/>
                </a:ext>
              </a:extLst>
            </p:cNvPr>
            <p:cNvSpPr/>
            <p:nvPr/>
          </p:nvSpPr>
          <p:spPr bwMode="auto">
            <a:xfrm>
              <a:off x="10383681" y="3353521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F5A1A32A-778B-4667-9C1F-BE1F1C9FC7CB}"/>
                </a:ext>
              </a:extLst>
            </p:cNvPr>
            <p:cNvSpPr/>
            <p:nvPr/>
          </p:nvSpPr>
          <p:spPr bwMode="auto">
            <a:xfrm>
              <a:off x="9848188" y="3585870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EC5A75C1-1F59-4B08-9A16-DF5E36555221}"/>
                </a:ext>
              </a:extLst>
            </p:cNvPr>
            <p:cNvSpPr/>
            <p:nvPr/>
          </p:nvSpPr>
          <p:spPr bwMode="auto">
            <a:xfrm>
              <a:off x="9994014" y="4140620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26AA1C3E-50AE-42BC-9FD7-765EC46CE4C5}"/>
                </a:ext>
              </a:extLst>
            </p:cNvPr>
            <p:cNvSpPr/>
            <p:nvPr/>
          </p:nvSpPr>
          <p:spPr bwMode="auto">
            <a:xfrm>
              <a:off x="11510056" y="4140620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B32C4ED6-A9E8-456C-9F8D-EE1712DC8E9E}"/>
                </a:ext>
              </a:extLst>
            </p:cNvPr>
            <p:cNvCxnSpPr>
              <a:stCxn id="4" idx="6"/>
              <a:endCxn id="148" idx="2"/>
            </p:cNvCxnSpPr>
            <p:nvPr/>
          </p:nvCxnSpPr>
          <p:spPr>
            <a:xfrm>
              <a:off x="11151611" y="4262540"/>
              <a:ext cx="358445" cy="0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9C465E59-1CD0-43ED-861F-301371DB4345}"/>
                </a:ext>
              </a:extLst>
            </p:cNvPr>
            <p:cNvCxnSpPr>
              <a:stCxn id="4" idx="4"/>
              <a:endCxn id="132" idx="0"/>
            </p:cNvCxnSpPr>
            <p:nvPr/>
          </p:nvCxnSpPr>
          <p:spPr>
            <a:xfrm>
              <a:off x="11029691" y="4384460"/>
              <a:ext cx="92961" cy="388829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AA7F6E5-B202-4765-9D55-D39C70B93727}"/>
                </a:ext>
              </a:extLst>
            </p:cNvPr>
            <p:cNvCxnSpPr>
              <a:stCxn id="132" idx="2"/>
              <a:endCxn id="134" idx="6"/>
            </p:cNvCxnSpPr>
            <p:nvPr/>
          </p:nvCxnSpPr>
          <p:spPr>
            <a:xfrm flipH="1">
              <a:off x="10708995" y="4895209"/>
              <a:ext cx="291737" cy="121920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F690CF75-A51A-4EC1-975C-C3A49E8C8C20}"/>
                </a:ext>
              </a:extLst>
            </p:cNvPr>
            <p:cNvCxnSpPr>
              <a:stCxn id="132" idx="6"/>
              <a:endCxn id="141" idx="2"/>
            </p:cNvCxnSpPr>
            <p:nvPr/>
          </p:nvCxnSpPr>
          <p:spPr>
            <a:xfrm>
              <a:off x="11244572" y="4895209"/>
              <a:ext cx="192790" cy="0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C90D4A18-197D-420E-B9C7-3C0A35B84FAA}"/>
                </a:ext>
              </a:extLst>
            </p:cNvPr>
            <p:cNvCxnSpPr>
              <a:stCxn id="132" idx="4"/>
              <a:endCxn id="140" idx="0"/>
            </p:cNvCxnSpPr>
            <p:nvPr/>
          </p:nvCxnSpPr>
          <p:spPr>
            <a:xfrm>
              <a:off x="11122652" y="5017129"/>
              <a:ext cx="0" cy="205282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DBF1ACC8-E75D-4464-9D04-0F145130AD78}"/>
                </a:ext>
              </a:extLst>
            </p:cNvPr>
            <p:cNvCxnSpPr>
              <a:stCxn id="4" idx="1"/>
              <a:endCxn id="122" idx="6"/>
            </p:cNvCxnSpPr>
            <p:nvPr/>
          </p:nvCxnSpPr>
          <p:spPr>
            <a:xfrm flipH="1" flipV="1">
              <a:off x="10668285" y="3998015"/>
              <a:ext cx="275196" cy="178315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2B10A308-D0E6-49F0-AE68-381210F316B6}"/>
                </a:ext>
              </a:extLst>
            </p:cNvPr>
            <p:cNvCxnSpPr>
              <a:stCxn id="4" idx="0"/>
              <a:endCxn id="123" idx="4"/>
            </p:cNvCxnSpPr>
            <p:nvPr/>
          </p:nvCxnSpPr>
          <p:spPr>
            <a:xfrm flipV="1">
              <a:off x="11029691" y="3691498"/>
              <a:ext cx="125891" cy="449122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AA8B91A3-68D9-4DB9-A4D7-A4E89D5A7306}"/>
                </a:ext>
              </a:extLst>
            </p:cNvPr>
            <p:cNvCxnSpPr>
              <a:stCxn id="123" idx="0"/>
              <a:endCxn id="144" idx="4"/>
            </p:cNvCxnSpPr>
            <p:nvPr/>
          </p:nvCxnSpPr>
          <p:spPr>
            <a:xfrm flipV="1">
              <a:off x="11155582" y="3277291"/>
              <a:ext cx="0" cy="170367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7AB06AC-F7B4-45DE-8D3F-309C28FE9968}"/>
                </a:ext>
              </a:extLst>
            </p:cNvPr>
            <p:cNvCxnSpPr>
              <a:stCxn id="123" idx="6"/>
              <a:endCxn id="142" idx="2"/>
            </p:cNvCxnSpPr>
            <p:nvPr/>
          </p:nvCxnSpPr>
          <p:spPr>
            <a:xfrm>
              <a:off x="11277502" y="3569578"/>
              <a:ext cx="152830" cy="0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F87336B2-2E37-4EAC-976E-50D71C0DDC35}"/>
                </a:ext>
              </a:extLst>
            </p:cNvPr>
            <p:cNvCxnSpPr>
              <a:stCxn id="122" idx="0"/>
              <a:endCxn id="145" idx="4"/>
            </p:cNvCxnSpPr>
            <p:nvPr/>
          </p:nvCxnSpPr>
          <p:spPr>
            <a:xfrm flipH="1" flipV="1">
              <a:off x="10505601" y="3597361"/>
              <a:ext cx="40764" cy="278734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9E678A91-C84D-4CA0-99E9-CEFA98DD0DB1}"/>
                </a:ext>
              </a:extLst>
            </p:cNvPr>
            <p:cNvCxnSpPr>
              <a:stCxn id="122" idx="1"/>
              <a:endCxn id="146" idx="6"/>
            </p:cNvCxnSpPr>
            <p:nvPr/>
          </p:nvCxnSpPr>
          <p:spPr>
            <a:xfrm flipH="1" flipV="1">
              <a:off x="10092028" y="3707790"/>
              <a:ext cx="368127" cy="204015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A2F81C9D-CBE6-4EF3-8EFE-569B17E7366E}"/>
                </a:ext>
              </a:extLst>
            </p:cNvPr>
            <p:cNvCxnSpPr>
              <a:stCxn id="122" idx="3"/>
              <a:endCxn id="147" idx="6"/>
            </p:cNvCxnSpPr>
            <p:nvPr/>
          </p:nvCxnSpPr>
          <p:spPr>
            <a:xfrm flipH="1">
              <a:off x="10237854" y="4084225"/>
              <a:ext cx="222301" cy="178315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</p:grpSp>
      <p:grpSp>
        <p:nvGrpSpPr>
          <p:cNvPr id="88" name="Group 31">
            <a:extLst>
              <a:ext uri="{FF2B5EF4-FFF2-40B4-BE49-F238E27FC236}">
                <a16:creationId xmlns:a16="http://schemas.microsoft.com/office/drawing/2014/main" id="{A1FFF57F-F5A9-2546-B42E-FE7475CDE2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1508" y="174861"/>
            <a:ext cx="595897" cy="582645"/>
            <a:chOff x="1" y="-1"/>
            <a:chExt cx="2608" cy="2550"/>
          </a:xfrm>
        </p:grpSpPr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FDF15FA4-4EED-6A4C-B92B-A1FB3C229B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4" y="691"/>
              <a:ext cx="1385" cy="1166"/>
            </a:xfrm>
            <a:custGeom>
              <a:avLst/>
              <a:gdLst>
                <a:gd name="T0" fmla="*/ 347 w 1385"/>
                <a:gd name="T1" fmla="*/ 0 h 1166"/>
                <a:gd name="T2" fmla="*/ 0 w 1385"/>
                <a:gd name="T3" fmla="*/ 583 h 1166"/>
                <a:gd name="T4" fmla="*/ 347 w 1385"/>
                <a:gd name="T5" fmla="*/ 1166 h 1166"/>
                <a:gd name="T6" fmla="*/ 1038 w 1385"/>
                <a:gd name="T7" fmla="*/ 1166 h 1166"/>
                <a:gd name="T8" fmla="*/ 1385 w 1385"/>
                <a:gd name="T9" fmla="*/ 583 h 1166"/>
                <a:gd name="T10" fmla="*/ 1038 w 1385"/>
                <a:gd name="T11" fmla="*/ 0 h 1166"/>
                <a:gd name="T12" fmla="*/ 347 w 1385"/>
                <a:gd name="T13" fmla="*/ 0 h 1166"/>
                <a:gd name="T14" fmla="*/ 233 w 1385"/>
                <a:gd name="T15" fmla="*/ 583 h 1166"/>
                <a:gd name="T16" fmla="*/ 462 w 1385"/>
                <a:gd name="T17" fmla="*/ 200 h 1166"/>
                <a:gd name="T18" fmla="*/ 923 w 1385"/>
                <a:gd name="T19" fmla="*/ 200 h 1166"/>
                <a:gd name="T20" fmla="*/ 1152 w 1385"/>
                <a:gd name="T21" fmla="*/ 583 h 1166"/>
                <a:gd name="T22" fmla="*/ 923 w 1385"/>
                <a:gd name="T23" fmla="*/ 966 h 1166"/>
                <a:gd name="T24" fmla="*/ 462 w 1385"/>
                <a:gd name="T25" fmla="*/ 966 h 1166"/>
                <a:gd name="T26" fmla="*/ 233 w 1385"/>
                <a:gd name="T27" fmla="*/ 583 h 1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5" h="1166">
                  <a:moveTo>
                    <a:pt x="347" y="0"/>
                  </a:moveTo>
                  <a:lnTo>
                    <a:pt x="0" y="583"/>
                  </a:lnTo>
                  <a:lnTo>
                    <a:pt x="347" y="1166"/>
                  </a:lnTo>
                  <a:lnTo>
                    <a:pt x="1038" y="1166"/>
                  </a:lnTo>
                  <a:lnTo>
                    <a:pt x="1385" y="583"/>
                  </a:lnTo>
                  <a:lnTo>
                    <a:pt x="1038" y="0"/>
                  </a:lnTo>
                  <a:lnTo>
                    <a:pt x="347" y="0"/>
                  </a:lnTo>
                  <a:close/>
                  <a:moveTo>
                    <a:pt x="233" y="583"/>
                  </a:moveTo>
                  <a:lnTo>
                    <a:pt x="462" y="200"/>
                  </a:lnTo>
                  <a:lnTo>
                    <a:pt x="923" y="200"/>
                  </a:lnTo>
                  <a:lnTo>
                    <a:pt x="1152" y="583"/>
                  </a:lnTo>
                  <a:lnTo>
                    <a:pt x="923" y="966"/>
                  </a:lnTo>
                  <a:lnTo>
                    <a:pt x="462" y="966"/>
                  </a:lnTo>
                  <a:lnTo>
                    <a:pt x="233" y="583"/>
                  </a:lnTo>
                  <a:close/>
                </a:path>
              </a:pathLst>
            </a:cu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>
                <a:solidFill>
                  <a:srgbClr val="3F3F3F"/>
                </a:solidFill>
                <a:latin typeface="Segoe UI"/>
              </a:endParaRPr>
            </a:p>
          </p:txBody>
        </p:sp>
        <p:sp>
          <p:nvSpPr>
            <p:cNvPr id="90" name="Freeform 33">
              <a:extLst>
                <a:ext uri="{FF2B5EF4-FFF2-40B4-BE49-F238E27FC236}">
                  <a16:creationId xmlns:a16="http://schemas.microsoft.com/office/drawing/2014/main" id="{B17E3ED0-8465-444F-8045-C26D4AEFA6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-1"/>
              <a:ext cx="1385" cy="1167"/>
            </a:xfrm>
            <a:custGeom>
              <a:avLst/>
              <a:gdLst>
                <a:gd name="T0" fmla="*/ 347 w 1385"/>
                <a:gd name="T1" fmla="*/ 0 h 1167"/>
                <a:gd name="T2" fmla="*/ 0 w 1385"/>
                <a:gd name="T3" fmla="*/ 583 h 1167"/>
                <a:gd name="T4" fmla="*/ 347 w 1385"/>
                <a:gd name="T5" fmla="*/ 1167 h 1167"/>
                <a:gd name="T6" fmla="*/ 1038 w 1385"/>
                <a:gd name="T7" fmla="*/ 1167 h 1167"/>
                <a:gd name="T8" fmla="*/ 1385 w 1385"/>
                <a:gd name="T9" fmla="*/ 583 h 1167"/>
                <a:gd name="T10" fmla="*/ 1038 w 1385"/>
                <a:gd name="T11" fmla="*/ 0 h 1167"/>
                <a:gd name="T12" fmla="*/ 347 w 1385"/>
                <a:gd name="T13" fmla="*/ 0 h 1167"/>
                <a:gd name="T14" fmla="*/ 233 w 1385"/>
                <a:gd name="T15" fmla="*/ 583 h 1167"/>
                <a:gd name="T16" fmla="*/ 462 w 1385"/>
                <a:gd name="T17" fmla="*/ 200 h 1167"/>
                <a:gd name="T18" fmla="*/ 923 w 1385"/>
                <a:gd name="T19" fmla="*/ 200 h 1167"/>
                <a:gd name="T20" fmla="*/ 1152 w 1385"/>
                <a:gd name="T21" fmla="*/ 583 h 1167"/>
                <a:gd name="T22" fmla="*/ 923 w 1385"/>
                <a:gd name="T23" fmla="*/ 967 h 1167"/>
                <a:gd name="T24" fmla="*/ 462 w 1385"/>
                <a:gd name="T25" fmla="*/ 967 h 1167"/>
                <a:gd name="T26" fmla="*/ 233 w 1385"/>
                <a:gd name="T27" fmla="*/ 583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5" h="1167">
                  <a:moveTo>
                    <a:pt x="347" y="0"/>
                  </a:moveTo>
                  <a:lnTo>
                    <a:pt x="0" y="583"/>
                  </a:lnTo>
                  <a:lnTo>
                    <a:pt x="347" y="1167"/>
                  </a:lnTo>
                  <a:lnTo>
                    <a:pt x="1038" y="1167"/>
                  </a:lnTo>
                  <a:lnTo>
                    <a:pt x="1385" y="583"/>
                  </a:lnTo>
                  <a:lnTo>
                    <a:pt x="1038" y="0"/>
                  </a:lnTo>
                  <a:lnTo>
                    <a:pt x="347" y="0"/>
                  </a:lnTo>
                  <a:close/>
                  <a:moveTo>
                    <a:pt x="233" y="583"/>
                  </a:moveTo>
                  <a:lnTo>
                    <a:pt x="462" y="200"/>
                  </a:lnTo>
                  <a:lnTo>
                    <a:pt x="923" y="200"/>
                  </a:lnTo>
                  <a:lnTo>
                    <a:pt x="1152" y="583"/>
                  </a:lnTo>
                  <a:lnTo>
                    <a:pt x="923" y="967"/>
                  </a:lnTo>
                  <a:lnTo>
                    <a:pt x="462" y="967"/>
                  </a:lnTo>
                  <a:lnTo>
                    <a:pt x="233" y="583"/>
                  </a:lnTo>
                  <a:close/>
                </a:path>
              </a:pathLst>
            </a:cu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>
                <a:solidFill>
                  <a:srgbClr val="3F3F3F"/>
                </a:solidFill>
                <a:latin typeface="Segoe UI"/>
              </a:endParaRPr>
            </a:p>
          </p:txBody>
        </p:sp>
        <p:sp>
          <p:nvSpPr>
            <p:cNvPr id="91" name="Freeform 34">
              <a:extLst>
                <a:ext uri="{FF2B5EF4-FFF2-40B4-BE49-F238E27FC236}">
                  <a16:creationId xmlns:a16="http://schemas.microsoft.com/office/drawing/2014/main" id="{2EAAB77E-96B3-3146-8795-9D1A34F2EC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1382"/>
              <a:ext cx="1385" cy="1167"/>
            </a:xfrm>
            <a:custGeom>
              <a:avLst/>
              <a:gdLst>
                <a:gd name="T0" fmla="*/ 347 w 1385"/>
                <a:gd name="T1" fmla="*/ 0 h 1167"/>
                <a:gd name="T2" fmla="*/ 0 w 1385"/>
                <a:gd name="T3" fmla="*/ 584 h 1167"/>
                <a:gd name="T4" fmla="*/ 347 w 1385"/>
                <a:gd name="T5" fmla="*/ 1167 h 1167"/>
                <a:gd name="T6" fmla="*/ 1038 w 1385"/>
                <a:gd name="T7" fmla="*/ 1167 h 1167"/>
                <a:gd name="T8" fmla="*/ 1385 w 1385"/>
                <a:gd name="T9" fmla="*/ 584 h 1167"/>
                <a:gd name="T10" fmla="*/ 1038 w 1385"/>
                <a:gd name="T11" fmla="*/ 0 h 1167"/>
                <a:gd name="T12" fmla="*/ 347 w 1385"/>
                <a:gd name="T13" fmla="*/ 0 h 1167"/>
                <a:gd name="T14" fmla="*/ 233 w 1385"/>
                <a:gd name="T15" fmla="*/ 584 h 1167"/>
                <a:gd name="T16" fmla="*/ 462 w 1385"/>
                <a:gd name="T17" fmla="*/ 200 h 1167"/>
                <a:gd name="T18" fmla="*/ 923 w 1385"/>
                <a:gd name="T19" fmla="*/ 200 h 1167"/>
                <a:gd name="T20" fmla="*/ 1152 w 1385"/>
                <a:gd name="T21" fmla="*/ 584 h 1167"/>
                <a:gd name="T22" fmla="*/ 923 w 1385"/>
                <a:gd name="T23" fmla="*/ 967 h 1167"/>
                <a:gd name="T24" fmla="*/ 462 w 1385"/>
                <a:gd name="T25" fmla="*/ 967 h 1167"/>
                <a:gd name="T26" fmla="*/ 233 w 1385"/>
                <a:gd name="T27" fmla="*/ 584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5" h="1167">
                  <a:moveTo>
                    <a:pt x="347" y="0"/>
                  </a:moveTo>
                  <a:lnTo>
                    <a:pt x="0" y="584"/>
                  </a:lnTo>
                  <a:lnTo>
                    <a:pt x="347" y="1167"/>
                  </a:lnTo>
                  <a:lnTo>
                    <a:pt x="1038" y="1167"/>
                  </a:lnTo>
                  <a:lnTo>
                    <a:pt x="1385" y="584"/>
                  </a:lnTo>
                  <a:lnTo>
                    <a:pt x="1038" y="0"/>
                  </a:lnTo>
                  <a:lnTo>
                    <a:pt x="347" y="0"/>
                  </a:lnTo>
                  <a:close/>
                  <a:moveTo>
                    <a:pt x="233" y="584"/>
                  </a:moveTo>
                  <a:lnTo>
                    <a:pt x="462" y="200"/>
                  </a:lnTo>
                  <a:lnTo>
                    <a:pt x="923" y="200"/>
                  </a:lnTo>
                  <a:lnTo>
                    <a:pt x="1152" y="584"/>
                  </a:lnTo>
                  <a:lnTo>
                    <a:pt x="923" y="967"/>
                  </a:lnTo>
                  <a:lnTo>
                    <a:pt x="462" y="967"/>
                  </a:lnTo>
                  <a:lnTo>
                    <a:pt x="233" y="584"/>
                  </a:lnTo>
                  <a:close/>
                </a:path>
              </a:pathLst>
            </a:cu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>
                <a:solidFill>
                  <a:srgbClr val="3F3F3F"/>
                </a:solidFill>
                <a:latin typeface="Segoe UI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6A82F63B-E0DE-CA45-B242-3029142CACC1}"/>
              </a:ext>
            </a:extLst>
          </p:cNvPr>
          <p:cNvGrpSpPr/>
          <p:nvPr/>
        </p:nvGrpSpPr>
        <p:grpSpPr>
          <a:xfrm>
            <a:off x="1114052" y="3779916"/>
            <a:ext cx="710142" cy="657199"/>
            <a:chOff x="4115666" y="5605620"/>
            <a:chExt cx="625062" cy="632754"/>
          </a:xfrm>
        </p:grpSpPr>
        <p:sp>
          <p:nvSpPr>
            <p:cNvPr id="95" name="document_3">
              <a:extLst>
                <a:ext uri="{FF2B5EF4-FFF2-40B4-BE49-F238E27FC236}">
                  <a16:creationId xmlns:a16="http://schemas.microsoft.com/office/drawing/2014/main" id="{A6C96762-469D-5A49-A1B2-59A1C246177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194257" y="5605620"/>
              <a:ext cx="546471" cy="632754"/>
            </a:xfrm>
            <a:custGeom>
              <a:avLst/>
              <a:gdLst>
                <a:gd name="T0" fmla="*/ 54 w 288"/>
                <a:gd name="T1" fmla="*/ 334 h 334"/>
                <a:gd name="T2" fmla="*/ 237 w 288"/>
                <a:gd name="T3" fmla="*/ 334 h 334"/>
                <a:gd name="T4" fmla="*/ 288 w 288"/>
                <a:gd name="T5" fmla="*/ 283 h 334"/>
                <a:gd name="T6" fmla="*/ 102 w 288"/>
                <a:gd name="T7" fmla="*/ 283 h 334"/>
                <a:gd name="T8" fmla="*/ 51 w 288"/>
                <a:gd name="T9" fmla="*/ 334 h 334"/>
                <a:gd name="T10" fmla="*/ 0 w 288"/>
                <a:gd name="T11" fmla="*/ 283 h 334"/>
                <a:gd name="T12" fmla="*/ 0 w 288"/>
                <a:gd name="T13" fmla="*/ 0 h 334"/>
                <a:gd name="T14" fmla="*/ 256 w 288"/>
                <a:gd name="T15" fmla="*/ 0 h 334"/>
                <a:gd name="T16" fmla="*/ 256 w 288"/>
                <a:gd name="T17" fmla="*/ 282 h 334"/>
                <a:gd name="T18" fmla="*/ 90 w 288"/>
                <a:gd name="T19" fmla="*/ 76 h 334"/>
                <a:gd name="T20" fmla="*/ 220 w 288"/>
                <a:gd name="T21" fmla="*/ 76 h 334"/>
                <a:gd name="T22" fmla="*/ 38 w 288"/>
                <a:gd name="T23" fmla="*/ 76 h 334"/>
                <a:gd name="T24" fmla="*/ 64 w 288"/>
                <a:gd name="T25" fmla="*/ 76 h 334"/>
                <a:gd name="T26" fmla="*/ 90 w 288"/>
                <a:gd name="T27" fmla="*/ 153 h 334"/>
                <a:gd name="T28" fmla="*/ 220 w 288"/>
                <a:gd name="T29" fmla="*/ 153 h 334"/>
                <a:gd name="T30" fmla="*/ 38 w 288"/>
                <a:gd name="T31" fmla="*/ 153 h 334"/>
                <a:gd name="T32" fmla="*/ 64 w 288"/>
                <a:gd name="T33" fmla="*/ 153 h 334"/>
                <a:gd name="T34" fmla="*/ 90 w 288"/>
                <a:gd name="T35" fmla="*/ 230 h 334"/>
                <a:gd name="T36" fmla="*/ 220 w 288"/>
                <a:gd name="T37" fmla="*/ 230 h 334"/>
                <a:gd name="T38" fmla="*/ 38 w 288"/>
                <a:gd name="T39" fmla="*/ 230 h 334"/>
                <a:gd name="T40" fmla="*/ 64 w 288"/>
                <a:gd name="T41" fmla="*/ 23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334">
                  <a:moveTo>
                    <a:pt x="54" y="334"/>
                  </a:moveTo>
                  <a:cubicBezTo>
                    <a:pt x="237" y="334"/>
                    <a:pt x="237" y="334"/>
                    <a:pt x="237" y="334"/>
                  </a:cubicBezTo>
                  <a:cubicBezTo>
                    <a:pt x="265" y="334"/>
                    <a:pt x="288" y="311"/>
                    <a:pt x="288" y="283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2" y="311"/>
                    <a:pt x="79" y="334"/>
                    <a:pt x="51" y="334"/>
                  </a:cubicBezTo>
                  <a:cubicBezTo>
                    <a:pt x="23" y="334"/>
                    <a:pt x="0" y="311"/>
                    <a:pt x="0" y="28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56" y="282"/>
                    <a:pt x="256" y="282"/>
                    <a:pt x="256" y="282"/>
                  </a:cubicBezTo>
                  <a:moveTo>
                    <a:pt x="90" y="76"/>
                  </a:moveTo>
                  <a:cubicBezTo>
                    <a:pt x="220" y="76"/>
                    <a:pt x="220" y="76"/>
                    <a:pt x="220" y="76"/>
                  </a:cubicBezTo>
                  <a:moveTo>
                    <a:pt x="38" y="76"/>
                  </a:moveTo>
                  <a:cubicBezTo>
                    <a:pt x="64" y="76"/>
                    <a:pt x="64" y="76"/>
                    <a:pt x="64" y="76"/>
                  </a:cubicBezTo>
                  <a:moveTo>
                    <a:pt x="90" y="153"/>
                  </a:moveTo>
                  <a:cubicBezTo>
                    <a:pt x="220" y="153"/>
                    <a:pt x="220" y="153"/>
                    <a:pt x="220" y="153"/>
                  </a:cubicBezTo>
                  <a:moveTo>
                    <a:pt x="38" y="153"/>
                  </a:moveTo>
                  <a:cubicBezTo>
                    <a:pt x="64" y="153"/>
                    <a:pt x="64" y="153"/>
                    <a:pt x="64" y="153"/>
                  </a:cubicBezTo>
                  <a:moveTo>
                    <a:pt x="90" y="230"/>
                  </a:moveTo>
                  <a:cubicBezTo>
                    <a:pt x="220" y="230"/>
                    <a:pt x="220" y="230"/>
                    <a:pt x="220" y="230"/>
                  </a:cubicBezTo>
                  <a:moveTo>
                    <a:pt x="38" y="230"/>
                  </a:moveTo>
                  <a:cubicBezTo>
                    <a:pt x="64" y="230"/>
                    <a:pt x="64" y="230"/>
                    <a:pt x="64" y="230"/>
                  </a:cubicBezTo>
                </a:path>
              </a:pathLst>
            </a:cu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A5FF832B-EC8E-1A4E-9A7F-74BA0D1BCC90}"/>
                </a:ext>
              </a:extLst>
            </p:cNvPr>
            <p:cNvGrpSpPr/>
            <p:nvPr/>
          </p:nvGrpSpPr>
          <p:grpSpPr>
            <a:xfrm rot="18900000">
              <a:off x="4115666" y="5829542"/>
              <a:ext cx="72331" cy="367289"/>
              <a:chOff x="3041882" y="5797533"/>
              <a:chExt cx="83993" cy="560330"/>
            </a:xfrm>
            <a:solidFill>
              <a:schemeClr val="bg1"/>
            </a:solidFill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13A601AC-53E1-D640-84D1-E6575B240BB7}"/>
                  </a:ext>
                </a:extLst>
              </p:cNvPr>
              <p:cNvSpPr/>
              <p:nvPr/>
            </p:nvSpPr>
            <p:spPr bwMode="auto">
              <a:xfrm>
                <a:off x="3051230" y="5937195"/>
                <a:ext cx="65297" cy="312416"/>
              </a:xfrm>
              <a:prstGeom prst="rect">
                <a:avLst/>
              </a:prstGeom>
              <a:grpFill/>
              <a:ln w="12700" cap="rnd">
                <a:solidFill>
                  <a:schemeClr val="accent3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defTabSz="896386"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98" name="Triangle 506">
                <a:extLst>
                  <a:ext uri="{FF2B5EF4-FFF2-40B4-BE49-F238E27FC236}">
                    <a16:creationId xmlns:a16="http://schemas.microsoft.com/office/drawing/2014/main" id="{B7BB6F45-4711-B04C-BEAB-78DBE63F05B0}"/>
                  </a:ext>
                </a:extLst>
              </p:cNvPr>
              <p:cNvSpPr/>
              <p:nvPr/>
            </p:nvSpPr>
            <p:spPr bwMode="auto">
              <a:xfrm flipV="1">
                <a:off x="3053520" y="6250172"/>
                <a:ext cx="60576" cy="107691"/>
              </a:xfrm>
              <a:prstGeom prst="triangle">
                <a:avLst/>
              </a:prstGeom>
              <a:grpFill/>
              <a:ln w="12700" cap="rnd">
                <a:solidFill>
                  <a:schemeClr val="accent3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defTabSz="896386"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3AD495DE-5013-8E4C-B82F-D98073903C2B}"/>
                  </a:ext>
                </a:extLst>
              </p:cNvPr>
              <p:cNvSpPr/>
              <p:nvPr/>
            </p:nvSpPr>
            <p:spPr bwMode="auto">
              <a:xfrm>
                <a:off x="3041882" y="5851378"/>
                <a:ext cx="83993" cy="85816"/>
              </a:xfrm>
              <a:prstGeom prst="rect">
                <a:avLst/>
              </a:prstGeom>
              <a:grpFill/>
              <a:ln w="12700" cap="rnd">
                <a:solidFill>
                  <a:schemeClr val="accent3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defTabSz="896386"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FEA78841-81F9-FF44-8D4B-1418E5A246ED}"/>
                  </a:ext>
                </a:extLst>
              </p:cNvPr>
              <p:cNvSpPr/>
              <p:nvPr/>
            </p:nvSpPr>
            <p:spPr bwMode="auto">
              <a:xfrm>
                <a:off x="3051230" y="5797533"/>
                <a:ext cx="65297" cy="53845"/>
              </a:xfrm>
              <a:prstGeom prst="rect">
                <a:avLst/>
              </a:prstGeom>
              <a:grpFill/>
              <a:ln w="12700" cap="rnd">
                <a:solidFill>
                  <a:schemeClr val="accent3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defTabSz="896386"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B9E16213-174E-1F45-86FF-1B4982DE803F}"/>
                  </a:ext>
                </a:extLst>
              </p:cNvPr>
              <p:cNvCxnSpPr/>
              <p:nvPr/>
            </p:nvCxnSpPr>
            <p:spPr>
              <a:xfrm>
                <a:off x="3068665" y="6304017"/>
                <a:ext cx="30288" cy="0"/>
              </a:xfrm>
              <a:prstGeom prst="line">
                <a:avLst/>
              </a:prstGeom>
              <a:grpFill/>
              <a:ln>
                <a:solidFill>
                  <a:schemeClr val="accent3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F5DF2788-6A4B-D949-903A-0B65CCF11515}"/>
              </a:ext>
            </a:extLst>
          </p:cNvPr>
          <p:cNvGrpSpPr/>
          <p:nvPr/>
        </p:nvGrpSpPr>
        <p:grpSpPr>
          <a:xfrm>
            <a:off x="195200" y="2974259"/>
            <a:ext cx="1031109" cy="595556"/>
            <a:chOff x="3234003" y="4140810"/>
            <a:chExt cx="293717" cy="359549"/>
          </a:xfrm>
        </p:grpSpPr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EF715A1B-7BA8-8645-90EE-4A5B2552A766}"/>
                </a:ext>
              </a:extLst>
            </p:cNvPr>
            <p:cNvGrpSpPr/>
            <p:nvPr/>
          </p:nvGrpSpPr>
          <p:grpSpPr>
            <a:xfrm flipH="1">
              <a:off x="3234003" y="4140810"/>
              <a:ext cx="293717" cy="359549"/>
              <a:chOff x="3003960" y="3685414"/>
              <a:chExt cx="403310" cy="493707"/>
            </a:xfrm>
          </p:grpSpPr>
          <p:sp>
            <p:nvSpPr>
              <p:cNvPr id="135" name="Snip Single Corner Rectangle 26">
                <a:extLst>
                  <a:ext uri="{FF2B5EF4-FFF2-40B4-BE49-F238E27FC236}">
                    <a16:creationId xmlns:a16="http://schemas.microsoft.com/office/drawing/2014/main" id="{F908847D-5960-B74C-89DA-C9A06854BD8A}"/>
                  </a:ext>
                </a:extLst>
              </p:cNvPr>
              <p:cNvSpPr/>
              <p:nvPr/>
            </p:nvSpPr>
            <p:spPr bwMode="auto">
              <a:xfrm flipH="1">
                <a:off x="3003960" y="3685414"/>
                <a:ext cx="403310" cy="493707"/>
              </a:xfrm>
              <a:prstGeom prst="snip1Rect">
                <a:avLst>
                  <a:gd name="adj" fmla="val 28736"/>
                </a:avLst>
              </a:prstGeom>
              <a:noFill/>
              <a:ln w="1270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6" name="Triangle 27">
                <a:extLst>
                  <a:ext uri="{FF2B5EF4-FFF2-40B4-BE49-F238E27FC236}">
                    <a16:creationId xmlns:a16="http://schemas.microsoft.com/office/drawing/2014/main" id="{9C6598AC-8275-3F4A-A361-EFDA6829627E}"/>
                  </a:ext>
                </a:extLst>
              </p:cNvPr>
              <p:cNvSpPr/>
              <p:nvPr/>
            </p:nvSpPr>
            <p:spPr bwMode="auto">
              <a:xfrm rot="8100000">
                <a:off x="3010906" y="3730317"/>
                <a:ext cx="160049" cy="80930"/>
              </a:xfrm>
              <a:prstGeom prst="triangle">
                <a:avLst/>
              </a:prstGeom>
              <a:noFill/>
              <a:ln w="12700">
                <a:solidFill>
                  <a:schemeClr val="accent3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25" name="Line 47">
              <a:extLst>
                <a:ext uri="{FF2B5EF4-FFF2-40B4-BE49-F238E27FC236}">
                  <a16:creationId xmlns:a16="http://schemas.microsoft.com/office/drawing/2014/main" id="{5B902F76-0E59-2945-B3A3-F7AD7FC80C5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69249" y="4197376"/>
              <a:ext cx="143859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6" name="Rectangle 48">
              <a:extLst>
                <a:ext uri="{FF2B5EF4-FFF2-40B4-BE49-F238E27FC236}">
                  <a16:creationId xmlns:a16="http://schemas.microsoft.com/office/drawing/2014/main" id="{2EF7E3AB-4969-474F-AD5C-54FD59C117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3813" y="4258200"/>
              <a:ext cx="148190" cy="133814"/>
            </a:xfrm>
            <a:prstGeom prst="rect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:a16="http://schemas.microsoft.com/office/drawing/2014/main" id="{87370E9C-D0F5-9143-8E2A-2F2D84952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813" y="4312942"/>
              <a:ext cx="148190" cy="72989"/>
            </a:xfrm>
            <a:custGeom>
              <a:avLst/>
              <a:gdLst>
                <a:gd name="T0" fmla="*/ 268 w 268"/>
                <a:gd name="T1" fmla="*/ 132 h 132"/>
                <a:gd name="T2" fmla="*/ 179 w 268"/>
                <a:gd name="T3" fmla="*/ 44 h 132"/>
                <a:gd name="T4" fmla="*/ 156 w 268"/>
                <a:gd name="T5" fmla="*/ 66 h 132"/>
                <a:gd name="T6" fmla="*/ 89 w 268"/>
                <a:gd name="T7" fmla="*/ 0 h 132"/>
                <a:gd name="T8" fmla="*/ 0 w 268"/>
                <a:gd name="T9" fmla="*/ 8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132">
                  <a:moveTo>
                    <a:pt x="268" y="132"/>
                  </a:moveTo>
                  <a:lnTo>
                    <a:pt x="179" y="44"/>
                  </a:lnTo>
                  <a:lnTo>
                    <a:pt x="156" y="66"/>
                  </a:lnTo>
                  <a:lnTo>
                    <a:pt x="89" y="0"/>
                  </a:lnTo>
                  <a:lnTo>
                    <a:pt x="0" y="88"/>
                  </a:lnTo>
                </a:path>
              </a:pathLst>
            </a:cu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8" name="Line 50">
              <a:extLst>
                <a:ext uri="{FF2B5EF4-FFF2-40B4-BE49-F238E27FC236}">
                  <a16:creationId xmlns:a16="http://schemas.microsoft.com/office/drawing/2014/main" id="{F78277F5-A80A-BA45-BCA8-C9455B8B33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9249" y="4261242"/>
              <a:ext cx="4976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9" name="Line 51">
              <a:extLst>
                <a:ext uri="{FF2B5EF4-FFF2-40B4-BE49-F238E27FC236}">
                  <a16:creationId xmlns:a16="http://schemas.microsoft.com/office/drawing/2014/main" id="{139E5CF7-2479-9A4C-838E-FD7BB02AFF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9249" y="4325108"/>
              <a:ext cx="4976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30" name="Line 52">
              <a:extLst>
                <a:ext uri="{FF2B5EF4-FFF2-40B4-BE49-F238E27FC236}">
                  <a16:creationId xmlns:a16="http://schemas.microsoft.com/office/drawing/2014/main" id="{15345D10-2B68-D644-B66F-D5F97A12FE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9249" y="4388974"/>
              <a:ext cx="4976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31" name="Line 54">
              <a:extLst>
                <a:ext uri="{FF2B5EF4-FFF2-40B4-BE49-F238E27FC236}">
                  <a16:creationId xmlns:a16="http://schemas.microsoft.com/office/drawing/2014/main" id="{765404AC-BC39-6F43-98CA-2E8D135CB6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9250" y="4452839"/>
              <a:ext cx="222754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33" name="Oval 56">
              <a:extLst>
                <a:ext uri="{FF2B5EF4-FFF2-40B4-BE49-F238E27FC236}">
                  <a16:creationId xmlns:a16="http://schemas.microsoft.com/office/drawing/2014/main" id="{5A6E7623-5E61-1842-9AEB-061D54609C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2791" y="4282530"/>
              <a:ext cx="24883" cy="2433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E16A9C14-77F9-884D-8267-B355674358C4}"/>
              </a:ext>
            </a:extLst>
          </p:cNvPr>
          <p:cNvGrpSpPr/>
          <p:nvPr/>
        </p:nvGrpSpPr>
        <p:grpSpPr>
          <a:xfrm>
            <a:off x="153368" y="3862469"/>
            <a:ext cx="814325" cy="1100898"/>
            <a:chOff x="4098616" y="2540836"/>
            <a:chExt cx="889259" cy="1088573"/>
          </a:xfrm>
        </p:grpSpPr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F9173D53-2432-CF43-960F-09741E1F014C}"/>
                </a:ext>
              </a:extLst>
            </p:cNvPr>
            <p:cNvSpPr txBox="1"/>
            <p:nvPr/>
          </p:nvSpPr>
          <p:spPr>
            <a:xfrm>
              <a:off x="4313838" y="2888620"/>
              <a:ext cx="619849" cy="6263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defTabSz="896386">
                <a:defRPr/>
              </a:pPr>
              <a:r>
                <a:rPr lang="en-US" sz="1372" dirty="0">
                  <a:solidFill>
                    <a:srgbClr val="D83B0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PS Reports</a:t>
              </a:r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AEBEBCE6-836B-0142-A12E-C216AC194600}"/>
                </a:ext>
              </a:extLst>
            </p:cNvPr>
            <p:cNvGrpSpPr/>
            <p:nvPr/>
          </p:nvGrpSpPr>
          <p:grpSpPr>
            <a:xfrm>
              <a:off x="4098616" y="2540836"/>
              <a:ext cx="889259" cy="1088573"/>
              <a:chOff x="3003960" y="3685414"/>
              <a:chExt cx="403310" cy="493707"/>
            </a:xfrm>
          </p:grpSpPr>
          <p:sp>
            <p:nvSpPr>
              <p:cNvPr id="143" name="Snip Single Corner Rectangle 26">
                <a:extLst>
                  <a:ext uri="{FF2B5EF4-FFF2-40B4-BE49-F238E27FC236}">
                    <a16:creationId xmlns:a16="http://schemas.microsoft.com/office/drawing/2014/main" id="{049A1059-879F-8243-BAB8-C1EC1DA2FB96}"/>
                  </a:ext>
                </a:extLst>
              </p:cNvPr>
              <p:cNvSpPr/>
              <p:nvPr/>
            </p:nvSpPr>
            <p:spPr bwMode="auto">
              <a:xfrm flipH="1">
                <a:off x="3003960" y="3685414"/>
                <a:ext cx="403310" cy="493707"/>
              </a:xfrm>
              <a:prstGeom prst="snip1Rect">
                <a:avLst>
                  <a:gd name="adj" fmla="val 28736"/>
                </a:avLst>
              </a:prstGeom>
              <a:noFill/>
              <a:ln w="1270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9" name="Triangle 27">
                <a:extLst>
                  <a:ext uri="{FF2B5EF4-FFF2-40B4-BE49-F238E27FC236}">
                    <a16:creationId xmlns:a16="http://schemas.microsoft.com/office/drawing/2014/main" id="{00F0F33D-5586-0D4A-8B5E-470972972D40}"/>
                  </a:ext>
                </a:extLst>
              </p:cNvPr>
              <p:cNvSpPr/>
              <p:nvPr/>
            </p:nvSpPr>
            <p:spPr bwMode="auto">
              <a:xfrm rot="8100000">
                <a:off x="3010906" y="3730317"/>
                <a:ext cx="160049" cy="80930"/>
              </a:xfrm>
              <a:prstGeom prst="triangle">
                <a:avLst/>
              </a:prstGeom>
              <a:noFill/>
              <a:ln w="12700">
                <a:solidFill>
                  <a:schemeClr val="accent3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C3D8B80F-8C8D-C44F-960F-4804FCC4EEF2}"/>
              </a:ext>
            </a:extLst>
          </p:cNvPr>
          <p:cNvSpPr/>
          <p:nvPr/>
        </p:nvSpPr>
        <p:spPr>
          <a:xfrm>
            <a:off x="2436240" y="6949057"/>
            <a:ext cx="7155933" cy="5750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137" dirty="0">
                <a:solidFill>
                  <a:srgbClr val="1A1A1A"/>
                </a:solidFill>
                <a:latin typeface="Segoe UI"/>
              </a:rPr>
              <a:t>https://</a:t>
            </a:r>
            <a:r>
              <a:rPr lang="en-US" sz="3137" dirty="0" err="1">
                <a:solidFill>
                  <a:srgbClr val="1A1A1A"/>
                </a:solidFill>
                <a:latin typeface="Segoe UI"/>
              </a:rPr>
              <a:t>tinyurl.com</a:t>
            </a:r>
            <a:r>
              <a:rPr lang="en-US" sz="3137" dirty="0">
                <a:solidFill>
                  <a:srgbClr val="1A1A1A"/>
                </a:solidFill>
                <a:latin typeface="Segoe UI"/>
              </a:rPr>
              <a:t>/</a:t>
            </a:r>
            <a:r>
              <a:rPr lang="en-US" sz="3137" dirty="0" err="1">
                <a:solidFill>
                  <a:srgbClr val="1A1A1A"/>
                </a:solidFill>
                <a:latin typeface="Segoe UI"/>
              </a:rPr>
              <a:t>learnai-AzureSearch</a:t>
            </a:r>
            <a:endParaRPr lang="en-US" sz="3137" dirty="0">
              <a:solidFill>
                <a:srgbClr val="1A1A1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2125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svg="http://schemas.microsoft.com/office/drawing/2016/SVG/main" xmlns:a14="http://schemas.microsoft.com/office/drawing/2010/main" xmlns:a16="http://schemas.microsoft.com/office/drawing/2014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/>
      <p:bldP spid="82" grpId="0"/>
      <p:bldP spid="28" grpId="0" animBg="1"/>
      <p:bldP spid="29" grpId="0" animBg="1"/>
      <p:bldP spid="75" grpId="0" animBg="1"/>
      <p:bldP spid="83" grpId="0" animBg="1"/>
      <p:bldP spid="99" grpId="0" animBg="1"/>
      <p:bldP spid="108" grpId="0" animBg="1"/>
      <p:bldP spid="5" grpId="0" animBg="1"/>
      <p:bldP spid="187" grpId="0"/>
      <p:bldP spid="188" grpId="0"/>
      <p:bldP spid="189" grpId="0"/>
      <p:bldP spid="190" grpId="0"/>
      <p:bldP spid="191" grpId="0"/>
      <p:bldP spid="192" grpId="0"/>
      <p:bldP spid="193" grpId="0"/>
      <p:bldP spid="194" grpId="0"/>
      <p:bldP spid="195" grpId="0"/>
      <p:bldP spid="196" grpId="0"/>
      <p:bldP spid="197" grpId="0"/>
      <p:bldP spid="19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2.xml><?xml version="1.0" encoding="utf-8"?>
<a:theme xmlns:a="http://schemas.openxmlformats.org/drawingml/2006/main" name="1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_v03.potx" id="{5E894424-2207-423C-A364-F5291691CAB1}" vid="{DF080804-2077-43CC-975F-A513A0AE6AD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606EF5350B4AC34299E527B9221D6B5E001A2DF7EB5935C14F830206357EC2322C" ma:contentTypeVersion="28" ma:contentTypeDescription="" ma:contentTypeScope="" ma:versionID="89820f8793a6ca73003c656d7991e932">
  <xsd:schema xmlns:xsd="http://www.w3.org/2001/XMLSchema" xmlns:xs="http://www.w3.org/2001/XMLSchema" xmlns:p="http://schemas.microsoft.com/office/2006/metadata/properties" xmlns:ns1="http://schemas.microsoft.com/sharepoint/v3" xmlns:ns2="5a4b3278-325d-441a-b38f-6f1926bc734e" xmlns:ns3="230e9df3-be65-4c73-a93b-d1236ebd677e" xmlns:ns5="9d1f81f6-e953-47ea-988e-33ed651c58e6" targetNamespace="http://schemas.microsoft.com/office/2006/metadata/properties" ma:root="true" ma:fieldsID="d4fe6f4c1c2f9fef057ecaf6d3d71565" ns1:_="" ns2:_="" ns3:_="" ns5:_="">
    <xsd:import namespace="http://schemas.microsoft.com/sharepoint/v3"/>
    <xsd:import namespace="5a4b3278-325d-441a-b38f-6f1926bc734e"/>
    <xsd:import namespace="230e9df3-be65-4c73-a93b-d1236ebd677e"/>
    <xsd:import namespace="9d1f81f6-e953-47ea-988e-33ed651c58e6"/>
    <xsd:element name="properties">
      <xsd:complexType>
        <xsd:sequence>
          <xsd:element name="documentManagement">
            <xsd:complexType>
              <xsd:all>
                <xsd:element ref="ns2:o33121adfc264c7dbcad13be7db3ea4b" minOccurs="0"/>
                <xsd:element ref="ns3:TaxCatchAll" minOccurs="0"/>
                <xsd:element ref="ns3:TaxCatchAllLabel" minOccurs="0"/>
                <xsd:element ref="ns2:c4b02e5b2c48420dbed84c0f2f02e9a3" minOccurs="0"/>
                <xsd:element ref="ns2:ba5aa7e3a41a404e868a451481761228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j129f3114929433a812312450a84994c" minOccurs="0"/>
                <xsd:element ref="ns2:e1750f71052543bd8c4d7217e9f56da0" minOccurs="0"/>
                <xsd:element ref="ns2:Session_x0020_Code" minOccurs="0"/>
                <xsd:element ref="ns2:MS_x0020_Content_x0020_Owner" minOccurs="0"/>
                <xsd:element ref="ns2:j478fa01fff54a9d85f93cc1f742caa8" minOccurs="0"/>
                <xsd:element ref="ns2:n26c0b7259a14f82a9880173edc4cb73" minOccurs="0"/>
                <xsd:element ref="ns1:AverageRating" minOccurs="0"/>
                <xsd:element ref="ns1:RatingCount" minOccurs="0"/>
                <xsd:element ref="ns1:LikesCount" minOccurs="0"/>
                <xsd:element ref="ns3:TaxKeywordTaxHTField" minOccurs="0"/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5:MediaServiceMetadata" minOccurs="0"/>
                <xsd:element ref="ns5:MediaServiceFastMetadata" minOccurs="0"/>
                <xsd:element ref="ns5:MediaServiceEventHashCode" minOccurs="0"/>
                <xsd:element ref="ns5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3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4b3278-325d-441a-b38f-6f1926bc734e" elementFormDefault="qualified">
    <xsd:import namespace="http://schemas.microsoft.com/office/2006/documentManagement/types"/>
    <xsd:import namespace="http://schemas.microsoft.com/office/infopath/2007/PartnerControls"/>
    <xsd:element name="o33121adfc264c7dbcad13be7db3ea4b" ma:index="8" nillable="true" ma:taxonomy="true" ma:internalName="o33121adfc264c7dbcad13be7db3ea4b" ma:taxonomyFieldName="Event_x0020_Name" ma:displayName="Event Name" ma:default="" ma:fieldId="{833121ad-fc26-4c7d-bcad-13be7db3ea4b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c4b02e5b2c48420dbed84c0f2f02e9a3" ma:index="12" nillable="true" ma:taxonomy="true" ma:internalName="c4b02e5b2c48420dbed84c0f2f02e9a3" ma:taxonomyFieldName="Event_x0020_Location" ma:displayName="Event Location" ma:default="" ma:fieldId="{c4b02e5b-2c48-420d-bed8-4c0f2f02e9a3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5aa7e3a41a404e868a451481761228" ma:index="14" nillable="true" ma:taxonomy="true" ma:internalName="ba5aa7e3a41a404e868a451481761228" ma:taxonomyFieldName="Event_x0020_Venue" ma:displayName="Event Venue" ma:default="" ma:fieldId="{ba5aa7e3-a41a-404e-868a-451481761228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j129f3114929433a812312450a84994c" ma:index="21" nillable="true" ma:taxonomy="true" ma:internalName="j129f3114929433a812312450a84994c" ma:taxonomyFieldName="Product" ma:displayName="Product" ma:default="" ma:fieldId="{3129f311-4929-433a-8123-12450a84994c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750f71052543bd8c4d7217e9f56da0" ma:index="23" nillable="true" ma:taxonomy="true" ma:internalName="e1750f71052543bd8c4d7217e9f56da0" ma:taxonomyFieldName="Campaign" ma:displayName="Campaign" ma:default="" ma:fieldId="{e1750f71-0525-43bd-8c4d-7217e9f56da0}" ma:taxonomyMulti="true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j478fa01fff54a9d85f93cc1f742caa8" ma:index="27" nillable="true" ma:taxonomy="true" ma:internalName="j478fa01fff54a9d85f93cc1f742caa8" ma:taxonomyFieldName="Track" ma:displayName="Track" ma:default="" ma:fieldId="{3478fa01-fff5-4a9d-85f9-3cc1f742caa8}" ma:sspId="e385fb40-52d4-4fae-9c5b-3e8ff8a5878e" ma:termSetId="3d852f0a-ed69-4ada-86bc-dbe628c826a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n26c0b7259a14f82a9880173edc4cb73" ma:index="29" nillable="true" ma:taxonomy="true" ma:internalName="n26c0b7259a14f82a9880173edc4cb73" ma:taxonomyFieldName="Audience1" ma:displayName="Audience" ma:default="" ma:fieldId="{726c0b72-59a1-4f82-a988-0173edc4cb73}" ma:taxonomyMulti="true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39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40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8a521885-91de-4219-9471-899125a19f6f}" ma:internalName="TaxCatchAll" ma:showField="CatchAllData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8a521885-91de-4219-9471-899125a19f6f}" ma:internalName="TaxCatchAllLabel" ma:readOnly="true" ma:showField="CatchAllDataLabel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5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f81f6-e953-47ea-988e-33ed651c58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4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4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4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ternal_x0020_Speaker xmlns="5a4b3278-325d-441a-b38f-6f1926bc734e" xsi:nil="true"/>
    <j478fa01fff54a9d85f93cc1f742caa8 xmlns="5a4b3278-325d-441a-b38f-6f1926bc734e">
      <Terms xmlns="http://schemas.microsoft.com/office/infopath/2007/PartnerControls"/>
    </j478fa01fff54a9d85f93cc1f742caa8>
    <Event_x0020_End_x0020_Date xmlns="5a4b3278-325d-441a-b38f-6f1926bc734e" xsi:nil="true"/>
    <LikesCount xmlns="http://schemas.microsoft.com/sharepoint/v3" xsi:nil="true"/>
    <MS_x0020_Speaker xmlns="5a4b3278-325d-441a-b38f-6f1926bc734e">
      <UserInfo>
        <DisplayName/>
        <AccountId xsi:nil="true"/>
        <AccountType/>
      </UserInfo>
    </MS_x0020_Speaker>
    <o33121adfc264c7dbcad13be7db3ea4b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</TermName>
          <TermId xmlns="http://schemas.microsoft.com/office/infopath/2007/PartnerControls">9323c522-fe4b-4922-816b-10a1920d7afb</TermId>
        </TermInfo>
      </Terms>
    </o33121adfc264c7dbcad13be7db3ea4b>
    <Session_x0020_Code xmlns="5a4b3278-325d-441a-b38f-6f1926bc734e">THR2110</Session_x0020_Code>
    <Presentation_x0020_Date xmlns="5a4b3278-325d-441a-b38f-6f1926bc734e" xsi:nil="true"/>
    <ba5aa7e3a41a404e868a451481761228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Orange County Convention Center</TermName>
          <TermId xmlns="http://schemas.microsoft.com/office/infopath/2007/PartnerControls">bd993e89-aa48-4695-84e0-3b53e88b1a79</TermId>
        </TermInfo>
      </Terms>
    </ba5aa7e3a41a404e868a451481761228>
    <n26c0b7259a14f82a9880173edc4cb73 xmlns="5a4b3278-325d-441a-b38f-6f1926bc734e">
      <Terms xmlns="http://schemas.microsoft.com/office/infopath/2007/PartnerControls"/>
    </n26c0b7259a14f82a9880173edc4cb73>
    <c4b02e5b2c48420dbed84c0f2f02e9a3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Orlando</TermName>
          <TermId xmlns="http://schemas.microsoft.com/office/infopath/2007/PartnerControls">8cc4ed56-1866-4501-a22c-89aafde6f59b</TermId>
        </TermInfo>
      </Terms>
    </c4b02e5b2c48420dbed84c0f2f02e9a3>
    <Event_x0020_Start_x0020_Date xmlns="5a4b3278-325d-441a-b38f-6f1926bc734e" xsi:nil="true"/>
    <MS_x0020_Content_x0020_Owner xmlns="5a4b3278-325d-441a-b38f-6f1926bc734e">
      <UserInfo>
        <DisplayName/>
        <AccountId xsi:nil="true"/>
        <AccountType/>
      </UserInfo>
    </MS_x0020_Content_x0020_Owner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</TermName>
          <TermId xmlns="http://schemas.microsoft.com/office/infopath/2007/PartnerControls">9323c522-fe4b-4922-816b-10a1920d7afb</TermId>
        </TermInfo>
      </Terms>
    </TaxKeywordTaxHTField>
    <j129f3114929433a812312450a84994c xmlns="5a4b3278-325d-441a-b38f-6f1926bc734e">
      <Terms xmlns="http://schemas.microsoft.com/office/infopath/2007/PartnerControls"/>
    </j129f3114929433a812312450a84994c>
    <TaxCatchAll xmlns="230e9df3-be65-4c73-a93b-d1236ebd677e">
      <Value>88</Value>
      <Value>87</Value>
      <Value>36</Value>
      <Value>35</Value>
    </TaxCatchAll>
    <e1750f71052543bd8c4d7217e9f56da0 xmlns="5a4b3278-325d-441a-b38f-6f1926bc734e">
      <Terms xmlns="http://schemas.microsoft.com/office/infopath/2007/PartnerControls"/>
    </e1750f71052543bd8c4d7217e9f56da0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CCDF05-C449-4F5A-97DA-0C223D536B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a4b3278-325d-441a-b38f-6f1926bc734e"/>
    <ds:schemaRef ds:uri="230e9df3-be65-4c73-a93b-d1236ebd677e"/>
    <ds:schemaRef ds:uri="9d1f81f6-e953-47ea-988e-33ed651c58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5a4b3278-325d-441a-b38f-6f1926bc734e"/>
    <ds:schemaRef ds:uri="http://purl.org/dc/terms/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schemas.microsoft.com/office/infopath/2007/PartnerControls"/>
    <ds:schemaRef ds:uri="230e9df3-be65-4c73-a93b-d1236ebd677e"/>
    <ds:schemaRef ds:uri="http://schemas.microsoft.com/sharepoint/v3"/>
    <ds:schemaRef ds:uri="http://schemas.openxmlformats.org/package/2006/metadata/core-properties"/>
    <ds:schemaRef ds:uri="9d1f81f6-e953-47ea-988e-33ed651c58e6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</Template>
  <TotalTime>3747</TotalTime>
  <Words>1388</Words>
  <Application>Microsoft Office PowerPoint</Application>
  <PresentationFormat>Widescreen</PresentationFormat>
  <Paragraphs>327</Paragraphs>
  <Slides>21</Slides>
  <Notes>21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Arial</vt:lpstr>
      <vt:lpstr>Calibri</vt:lpstr>
      <vt:lpstr>Consolas</vt:lpstr>
      <vt:lpstr>Rockwell Condensed</vt:lpstr>
      <vt:lpstr>Segoe UI</vt:lpstr>
      <vt:lpstr>Segoe UI Light</vt:lpstr>
      <vt:lpstr>Segoe UI Semibold</vt:lpstr>
      <vt:lpstr>Segoe UI Semilight</vt:lpstr>
      <vt:lpstr>Symbol</vt:lpstr>
      <vt:lpstr>Wingdings</vt:lpstr>
      <vt:lpstr>5-50203_Microsoft_Ignite_Template</vt:lpstr>
      <vt:lpstr>1_5-50203_Microsoft_Ignite_Template</vt:lpstr>
      <vt:lpstr>think-cell Slide</vt:lpstr>
      <vt:lpstr>Introduction to  Azure AI Technologies </vt:lpstr>
      <vt:lpstr>The Azure AI Landscape</vt:lpstr>
      <vt:lpstr>PowerPoint Presentation</vt:lpstr>
      <vt:lpstr>PowerPoint Presentation</vt:lpstr>
      <vt:lpstr>PowerPoint Presentation</vt:lpstr>
      <vt:lpstr>PowerPoint Presentation</vt:lpstr>
      <vt:lpstr>Microsoft Cognitive Services Give your apps a human side</vt:lpstr>
      <vt:lpstr>Microsoft Cognitive Services</vt:lpstr>
      <vt:lpstr>Knowledge Mining with Azure Search</vt:lpstr>
      <vt:lpstr>Bot Framework - Engage with your users</vt:lpstr>
      <vt:lpstr>Combining Services for real-world applications</vt:lpstr>
      <vt:lpstr>PowerPoint Presentation</vt:lpstr>
      <vt:lpstr>The Data Science Process </vt:lpstr>
      <vt:lpstr>Machine Learning on Azure</vt:lpstr>
      <vt:lpstr>Popular Frameworks</vt:lpstr>
      <vt:lpstr>Azure ML/AI Infrastructure</vt:lpstr>
      <vt:lpstr>Flexible deployment Deploy and manage models on intelligent cloud and edge </vt:lpstr>
      <vt:lpstr>PowerPoint Presentation</vt:lpstr>
      <vt:lpstr>PowerPoint Presentation</vt:lpstr>
      <vt:lpstr>PowerPoint Presentation</vt:lpstr>
      <vt:lpstr>PowerPoint Presentation</vt:lpstr>
    </vt:vector>
  </TitlesOfParts>
  <Manager>&lt;Comms manager name here&gt;</Manager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2110</dc:title>
  <dc:subject>Microsoft Ignite</dc:subject>
  <dc:creator>Brieanne Vanderpool</dc:creator>
  <cp:keywords>Microsoft Ignite</cp:keywords>
  <dc:description/>
  <cp:lastModifiedBy>Nithin Mohan Thattiot Kadumberi</cp:lastModifiedBy>
  <cp:revision>39</cp:revision>
  <dcterms:created xsi:type="dcterms:W3CDTF">2018-08-10T17:04:28Z</dcterms:created>
  <dcterms:modified xsi:type="dcterms:W3CDTF">2018-12-10T12:05:41Z</dcterms:modified>
  <cp:category>Microsoft Igni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6EF5350B4AC34299E527B9221D6B5E001A2DF7EB5935C14F830206357EC2322C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36;#Orange County Convention Center|bd993e89-aa48-4695-84e0-3b53e88b1a79</vt:lpwstr>
  </property>
  <property fmtid="{D5CDD505-2E9C-101B-9397-08002B2CF9AE}" pid="7" name="Track">
    <vt:lpwstr/>
  </property>
  <property fmtid="{D5CDD505-2E9C-101B-9397-08002B2CF9AE}" pid="8" name="Event Location">
    <vt:lpwstr>88;#Orlando|8cc4ed56-1866-4501-a22c-89aafde6f59b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TaxKeyword">
    <vt:lpwstr>87;#Microsoft Ignite|9323c522-fe4b-4922-816b-10a1920d7afb</vt:lpwstr>
  </property>
  <property fmtid="{D5CDD505-2E9C-101B-9397-08002B2CF9AE}" pid="21" name="Event Name">
    <vt:lpwstr>35;#Microsoft Ignite|9323c522-fe4b-4922-816b-10a1920d7afb</vt:lpwstr>
  </property>
  <property fmtid="{D5CDD505-2E9C-101B-9397-08002B2CF9AE}" pid="22" name="Audience1">
    <vt:lpwstr/>
  </property>
</Properties>
</file>